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9" r:id="rId2"/>
  </p:sldMasterIdLst>
  <p:notesMasterIdLst>
    <p:notesMasterId r:id="rId41"/>
  </p:notesMasterIdLst>
  <p:sldIdLst>
    <p:sldId id="256" r:id="rId3"/>
    <p:sldId id="289" r:id="rId4"/>
    <p:sldId id="257" r:id="rId5"/>
    <p:sldId id="258" r:id="rId6"/>
    <p:sldId id="259" r:id="rId7"/>
    <p:sldId id="290" r:id="rId8"/>
    <p:sldId id="291" r:id="rId9"/>
    <p:sldId id="260" r:id="rId10"/>
    <p:sldId id="261" r:id="rId11"/>
    <p:sldId id="263" r:id="rId12"/>
    <p:sldId id="264" r:id="rId13"/>
    <p:sldId id="273" r:id="rId14"/>
    <p:sldId id="267" r:id="rId15"/>
    <p:sldId id="265" r:id="rId16"/>
    <p:sldId id="266" r:id="rId17"/>
    <p:sldId id="292" r:id="rId18"/>
    <p:sldId id="293" r:id="rId19"/>
    <p:sldId id="295" r:id="rId20"/>
    <p:sldId id="268" r:id="rId21"/>
    <p:sldId id="269" r:id="rId22"/>
    <p:sldId id="274" r:id="rId23"/>
    <p:sldId id="270" r:id="rId24"/>
    <p:sldId id="271" r:id="rId25"/>
    <p:sldId id="272" r:id="rId26"/>
    <p:sldId id="275" r:id="rId27"/>
    <p:sldId id="276" r:id="rId28"/>
    <p:sldId id="285" r:id="rId29"/>
    <p:sldId id="287" r:id="rId30"/>
    <p:sldId id="288" r:id="rId31"/>
    <p:sldId id="277" r:id="rId32"/>
    <p:sldId id="278" r:id="rId33"/>
    <p:sldId id="262" r:id="rId34"/>
    <p:sldId id="279" r:id="rId35"/>
    <p:sldId id="280" r:id="rId36"/>
    <p:sldId id="282" r:id="rId37"/>
    <p:sldId id="283" r:id="rId38"/>
    <p:sldId id="281" r:id="rId39"/>
    <p:sldId id="284" r:id="rId4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7EF8C0E-A8F8-4731-B75C-57BE98462ED7}">
          <p14:sldIdLst>
            <p14:sldId id="256"/>
            <p14:sldId id="289"/>
          </p14:sldIdLst>
        </p14:section>
        <p14:section name="Curriculum Development" id="{DC552D64-BF2A-4898-A895-8ACFE9FC5DB0}">
          <p14:sldIdLst>
            <p14:sldId id="257"/>
            <p14:sldId id="258"/>
            <p14:sldId id="259"/>
            <p14:sldId id="290"/>
            <p14:sldId id="291"/>
            <p14:sldId id="260"/>
            <p14:sldId id="261"/>
          </p14:sldIdLst>
        </p14:section>
        <p14:section name="Content Organisation" id="{B32D822D-E1E3-44E5-A675-D4CAF4CC21C9}">
          <p14:sldIdLst>
            <p14:sldId id="263"/>
            <p14:sldId id="264"/>
            <p14:sldId id="273"/>
            <p14:sldId id="267"/>
            <p14:sldId id="265"/>
            <p14:sldId id="266"/>
            <p14:sldId id="292"/>
            <p14:sldId id="293"/>
            <p14:sldId id="295"/>
            <p14:sldId id="268"/>
            <p14:sldId id="269"/>
            <p14:sldId id="274"/>
            <p14:sldId id="270"/>
            <p14:sldId id="271"/>
            <p14:sldId id="272"/>
          </p14:sldIdLst>
        </p14:section>
        <p14:section name="Issues and Challenge" id="{61BC44B5-724D-43DC-8A8B-39F205E05E68}">
          <p14:sldIdLst>
            <p14:sldId id="275"/>
            <p14:sldId id="276"/>
            <p14:sldId id="285"/>
            <p14:sldId id="287"/>
            <p14:sldId id="288"/>
            <p14:sldId id="277"/>
            <p14:sldId id="278"/>
            <p14:sldId id="262"/>
          </p14:sldIdLst>
        </p14:section>
        <p14:section name="4.0SEA – BES (MATHEMATICS) : RECOMMENDATIONS AND SUGGESTIONS" id="{5F04DE63-58D9-4048-ABAD-9FB5A48AD3EE}">
          <p14:sldIdLst>
            <p14:sldId id="279"/>
            <p14:sldId id="280"/>
            <p14:sldId id="282"/>
            <p14:sldId id="283"/>
            <p14:sldId id="281"/>
            <p14:sldId id="28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3AD07"/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1" autoAdjust="0"/>
    <p:restoredTop sz="94660"/>
  </p:normalViewPr>
  <p:slideViewPr>
    <p:cSldViewPr snapToGrid="0">
      <p:cViewPr varScale="1">
        <p:scale>
          <a:sx n="81" d="100"/>
          <a:sy n="81" d="100"/>
        </p:scale>
        <p:origin x="258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aio\Desktop\laporan%20TIMSS%202011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vaio\Desktop\laporan%20TIMSS%202011.xls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vaio\Desktop\laporan%20TIMSS%202011.xls" TargetMode="External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ms-MY"/>
            </a:pPr>
            <a:r>
              <a:rPr lang="en-MY" smtClean="0"/>
              <a:t>Mathematics</a:t>
            </a:r>
            <a:endParaRPr lang="en-MY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6.2497310786971318E-3"/>
          <c:w val="1"/>
          <c:h val="0.6610636896187102"/>
        </c:manualLayout>
      </c:layout>
      <c:lineChart>
        <c:grouping val="standard"/>
        <c:varyColors val="0"/>
        <c:ser>
          <c:idx val="0"/>
          <c:order val="0"/>
          <c:tx>
            <c:strRef>
              <c:f>Sheet1!$H$93</c:f>
              <c:strCache>
                <c:ptCount val="1"/>
                <c:pt idx="0">
                  <c:v>Skor Malaysia</c:v>
                </c:pt>
              </c:strCache>
            </c:strRef>
          </c:tx>
          <c:spPr>
            <a:ln w="57150"/>
          </c:spPr>
          <c:marker>
            <c:spPr>
              <a:ln w="57150"/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G$94:$G$97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H$94:$H$97</c:f>
              <c:numCache>
                <c:formatCode>General</c:formatCode>
                <c:ptCount val="4"/>
                <c:pt idx="0">
                  <c:v>519</c:v>
                </c:pt>
                <c:pt idx="1">
                  <c:v>508</c:v>
                </c:pt>
                <c:pt idx="2">
                  <c:v>474</c:v>
                </c:pt>
                <c:pt idx="3">
                  <c:v>44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494-43A3-8638-9990485F9DE4}"/>
            </c:ext>
          </c:extLst>
        </c:ser>
        <c:ser>
          <c:idx val="1"/>
          <c:order val="1"/>
          <c:tx>
            <c:strRef>
              <c:f>Sheet1!$I$93</c:f>
              <c:strCache>
                <c:ptCount val="1"/>
                <c:pt idx="0">
                  <c:v>Skor Purata Negara Peserta</c:v>
                </c:pt>
              </c:strCache>
            </c:strRef>
          </c:tx>
          <c:spPr>
            <a:ln w="57150">
              <a:prstDash val="sysDash"/>
            </a:ln>
          </c:spPr>
          <c:marker>
            <c:spPr>
              <a:ln w="57150">
                <a:prstDash val="sysDash"/>
              </a:ln>
            </c:spPr>
          </c:marker>
          <c:dLbls>
            <c:dLbl>
              <c:idx val="0"/>
              <c:layout>
                <c:manualLayout>
                  <c:x val="-7.5318505684361658E-2"/>
                  <c:y val="4.65686274509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494-43A3-8638-9990485F9DE4}"/>
                </c:ext>
              </c:extLst>
            </c:dLbl>
            <c:dLbl>
              <c:idx val="1"/>
              <c:layout>
                <c:manualLayout>
                  <c:x val="-6.694978283054373E-2"/>
                  <c:y val="3.921568627450980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494-43A3-8638-9990485F9DE4}"/>
                </c:ext>
              </c:extLst>
            </c:dLbl>
            <c:dLbl>
              <c:idx val="2"/>
              <c:layout>
                <c:manualLayout>
                  <c:x val="-6.6949782830543703E-2"/>
                  <c:y val="3.43137254901960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494-43A3-8638-9990485F9D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G$94:$G$97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I$94:$I$97</c:f>
              <c:numCache>
                <c:formatCode>General</c:formatCode>
                <c:ptCount val="4"/>
                <c:pt idx="0">
                  <c:v>487</c:v>
                </c:pt>
                <c:pt idx="1">
                  <c:v>467</c:v>
                </c:pt>
                <c:pt idx="2">
                  <c:v>450</c:v>
                </c:pt>
                <c:pt idx="3">
                  <c:v>4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A494-43A3-8638-9990485F9DE4}"/>
            </c:ext>
          </c:extLst>
        </c:ser>
        <c:ser>
          <c:idx val="2"/>
          <c:order val="2"/>
          <c:tx>
            <c:strRef>
              <c:f>Sheet1!$J$93</c:f>
              <c:strCache>
                <c:ptCount val="1"/>
                <c:pt idx="0">
                  <c:v>TIMSS Scale Centerpoint</c:v>
                </c:pt>
              </c:strCache>
            </c:strRef>
          </c:tx>
          <c:spPr>
            <a:ln w="57150"/>
          </c:spPr>
          <c:marker>
            <c:spPr>
              <a:ln w="57150"/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G$94:$G$97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J$94:$J$97</c:f>
              <c:numCache>
                <c:formatCode>General</c:formatCode>
                <c:ptCount val="4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494-43A3-8638-9990485F9DE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30029440"/>
        <c:axId val="430043520"/>
      </c:lineChart>
      <c:catAx>
        <c:axId val="4300294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lang="ms-MY"/>
            </a:pPr>
            <a:endParaRPr lang="en-US"/>
          </a:p>
        </c:txPr>
        <c:crossAx val="430043520"/>
        <c:crosses val="autoZero"/>
        <c:auto val="1"/>
        <c:lblAlgn val="ctr"/>
        <c:lblOffset val="100"/>
        <c:noMultiLvlLbl val="0"/>
      </c:catAx>
      <c:valAx>
        <c:axId val="4300435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30029440"/>
        <c:crosses val="autoZero"/>
        <c:crossBetween val="between"/>
      </c:valAx>
      <c:spPr>
        <a:solidFill>
          <a:sysClr val="window" lastClr="FFFFFF"/>
        </a:solidFill>
      </c:spPr>
    </c:plotArea>
    <c:plotVisOnly val="1"/>
    <c:dispBlanksAs val="gap"/>
    <c:showDLblsOverMax val="0"/>
  </c:chart>
  <c:spPr>
    <a:solidFill>
      <a:sysClr val="window" lastClr="FFFFFF"/>
    </a:solidFill>
  </c:spPr>
  <c:txPr>
    <a:bodyPr/>
    <a:lstStyle/>
    <a:p>
      <a:pPr>
        <a:defRPr sz="16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lang="ms-MY"/>
            </a:pPr>
            <a:r>
              <a:rPr lang="en-MY" smtClean="0"/>
              <a:t>Science</a:t>
            </a:r>
            <a:endParaRPr lang="en-MY" dirty="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"/>
          <c:y val="8.8245127145992003E-2"/>
          <c:w val="0.99255106406616744"/>
          <c:h val="0.66435386753126457"/>
        </c:manualLayout>
      </c:layout>
      <c:lineChart>
        <c:grouping val="standard"/>
        <c:varyColors val="0"/>
        <c:ser>
          <c:idx val="0"/>
          <c:order val="0"/>
          <c:tx>
            <c:strRef>
              <c:f>Sheet1!$L$50</c:f>
              <c:strCache>
                <c:ptCount val="1"/>
                <c:pt idx="0">
                  <c:v>Skor Malaysia</c:v>
                </c:pt>
              </c:strCache>
            </c:strRef>
          </c:tx>
          <c:spPr>
            <a:ln w="57150"/>
          </c:spPr>
          <c:marker>
            <c:spPr>
              <a:ln w="57150"/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K$51:$K$54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L$51:$L$54</c:f>
              <c:numCache>
                <c:formatCode>General</c:formatCode>
                <c:ptCount val="4"/>
                <c:pt idx="0">
                  <c:v>492</c:v>
                </c:pt>
                <c:pt idx="1">
                  <c:v>510</c:v>
                </c:pt>
                <c:pt idx="2">
                  <c:v>471</c:v>
                </c:pt>
                <c:pt idx="3">
                  <c:v>4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A6-4D4E-848A-9C288C90C47F}"/>
            </c:ext>
          </c:extLst>
        </c:ser>
        <c:ser>
          <c:idx val="1"/>
          <c:order val="1"/>
          <c:tx>
            <c:strRef>
              <c:f>Sheet1!$M$50</c:f>
              <c:strCache>
                <c:ptCount val="1"/>
                <c:pt idx="0">
                  <c:v>Skor Purata Negara Peserta</c:v>
                </c:pt>
              </c:strCache>
            </c:strRef>
          </c:tx>
          <c:spPr>
            <a:ln w="57150">
              <a:prstDash val="dash"/>
            </a:ln>
          </c:spPr>
          <c:marker>
            <c:spPr>
              <a:ln w="57150">
                <a:prstDash val="dash"/>
              </a:ln>
            </c:spPr>
          </c:marker>
          <c:dLbls>
            <c:dLbl>
              <c:idx val="0"/>
              <c:layout>
                <c:manualLayout>
                  <c:x val="-5.2777766234084374E-2"/>
                  <c:y val="5.79710144927536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A6-4D4E-848A-9C288C90C47F}"/>
                </c:ext>
              </c:extLst>
            </c:dLbl>
            <c:dLbl>
              <c:idx val="2"/>
              <c:layout>
                <c:manualLayout>
                  <c:x val="-8.3333315106449021E-2"/>
                  <c:y val="4.10628019323671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A6-4D4E-848A-9C288C90C4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K$51:$K$54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M$51:$M$54</c:f>
              <c:numCache>
                <c:formatCode>General</c:formatCode>
                <c:ptCount val="4"/>
                <c:pt idx="0">
                  <c:v>488</c:v>
                </c:pt>
                <c:pt idx="1">
                  <c:v>474</c:v>
                </c:pt>
                <c:pt idx="2">
                  <c:v>466</c:v>
                </c:pt>
                <c:pt idx="3">
                  <c:v>4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AA6-4D4E-848A-9C288C90C47F}"/>
            </c:ext>
          </c:extLst>
        </c:ser>
        <c:ser>
          <c:idx val="2"/>
          <c:order val="2"/>
          <c:tx>
            <c:strRef>
              <c:f>Sheet1!$N$50</c:f>
              <c:strCache>
                <c:ptCount val="1"/>
                <c:pt idx="0">
                  <c:v>TIMSS Scale Centerpoint</c:v>
                </c:pt>
              </c:strCache>
            </c:strRef>
          </c:tx>
          <c:spPr>
            <a:ln w="57150"/>
          </c:spPr>
          <c:marker>
            <c:spPr>
              <a:ln w="57150"/>
            </c:spPr>
          </c:marker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K$51:$K$54</c:f>
              <c:numCache>
                <c:formatCode>General</c:formatCode>
                <c:ptCount val="4"/>
                <c:pt idx="0">
                  <c:v>1999</c:v>
                </c:pt>
                <c:pt idx="1">
                  <c:v>2003</c:v>
                </c:pt>
                <c:pt idx="2">
                  <c:v>2007</c:v>
                </c:pt>
                <c:pt idx="3">
                  <c:v>2011</c:v>
                </c:pt>
              </c:numCache>
            </c:numRef>
          </c:cat>
          <c:val>
            <c:numRef>
              <c:f>Sheet1!$N$51:$N$54</c:f>
              <c:numCache>
                <c:formatCode>General</c:formatCode>
                <c:ptCount val="4"/>
                <c:pt idx="0">
                  <c:v>500</c:v>
                </c:pt>
                <c:pt idx="1">
                  <c:v>500</c:v>
                </c:pt>
                <c:pt idx="2">
                  <c:v>500</c:v>
                </c:pt>
                <c:pt idx="3">
                  <c:v>5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AA6-4D4E-848A-9C288C90C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30140800"/>
        <c:axId val="430146688"/>
      </c:lineChart>
      <c:catAx>
        <c:axId val="430140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lang="ms-MY"/>
            </a:pPr>
            <a:endParaRPr lang="en-US"/>
          </a:p>
        </c:txPr>
        <c:crossAx val="430146688"/>
        <c:crosses val="autoZero"/>
        <c:auto val="1"/>
        <c:lblAlgn val="ctr"/>
        <c:lblOffset val="100"/>
        <c:noMultiLvlLbl val="0"/>
      </c:catAx>
      <c:valAx>
        <c:axId val="430146688"/>
        <c:scaling>
          <c:orientation val="minMax"/>
          <c:min val="420"/>
        </c:scaling>
        <c:delete val="1"/>
        <c:axPos val="l"/>
        <c:numFmt formatCode="General" sourceLinked="1"/>
        <c:majorTickMark val="none"/>
        <c:minorTickMark val="none"/>
        <c:tickLblPos val="nextTo"/>
        <c:crossAx val="43014080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solidFill>
      <a:sysClr val="window" lastClr="FFFFFF"/>
    </a:solidFill>
  </c:spPr>
  <c:txPr>
    <a:bodyPr/>
    <a:lstStyle/>
    <a:p>
      <a:pPr>
        <a:defRPr sz="16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21652198162729661"/>
          <c:y val="5.084029033716575E-2"/>
          <c:w val="0.76820024059492564"/>
          <c:h val="0.9361094402639625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'Tahap pencapaian'!$O$40</c:f>
              <c:strCache>
                <c:ptCount val="1"/>
                <c:pt idx="0">
                  <c:v>1999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ahap pencapaian'!$N$41:$N$45</c:f>
              <c:strCache>
                <c:ptCount val="5"/>
                <c:pt idx="0">
                  <c:v>  x ≥ 625</c:v>
                </c:pt>
                <c:pt idx="1">
                  <c:v>  550 ≤ x ≤ 625</c:v>
                </c:pt>
                <c:pt idx="2">
                  <c:v>  475 ≤ x ≤ 550</c:v>
                </c:pt>
                <c:pt idx="3">
                  <c:v>  400 ≤ x ≤ 475</c:v>
                </c:pt>
                <c:pt idx="4">
                  <c:v>     0 ≤ x &lt; 400</c:v>
                </c:pt>
              </c:strCache>
            </c:strRef>
          </c:cat>
          <c:val>
            <c:numRef>
              <c:f>'Tahap pencapaian'!$O$41:$O$45</c:f>
              <c:numCache>
                <c:formatCode>General</c:formatCode>
                <c:ptCount val="5"/>
                <c:pt idx="0">
                  <c:v>10</c:v>
                </c:pt>
                <c:pt idx="1">
                  <c:v>26</c:v>
                </c:pt>
                <c:pt idx="2">
                  <c:v>34</c:v>
                </c:pt>
                <c:pt idx="3">
                  <c:v>23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12-40FF-B596-4984E57F3204}"/>
            </c:ext>
          </c:extLst>
        </c:ser>
        <c:ser>
          <c:idx val="1"/>
          <c:order val="1"/>
          <c:tx>
            <c:strRef>
              <c:f>'Tahap pencapaian'!$P$40</c:f>
              <c:strCache>
                <c:ptCount val="1"/>
                <c:pt idx="0">
                  <c:v>2003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ahap pencapaian'!$N$41:$N$45</c:f>
              <c:strCache>
                <c:ptCount val="5"/>
                <c:pt idx="0">
                  <c:v>  x ≥ 625</c:v>
                </c:pt>
                <c:pt idx="1">
                  <c:v>  550 ≤ x ≤ 625</c:v>
                </c:pt>
                <c:pt idx="2">
                  <c:v>  475 ≤ x ≤ 550</c:v>
                </c:pt>
                <c:pt idx="3">
                  <c:v>  400 ≤ x ≤ 475</c:v>
                </c:pt>
                <c:pt idx="4">
                  <c:v>     0 ≤ x &lt; 400</c:v>
                </c:pt>
              </c:strCache>
            </c:strRef>
          </c:cat>
          <c:val>
            <c:numRef>
              <c:f>'Tahap pencapaian'!$P$41:$P$45</c:f>
              <c:numCache>
                <c:formatCode>General</c:formatCode>
                <c:ptCount val="5"/>
                <c:pt idx="0">
                  <c:v>6</c:v>
                </c:pt>
                <c:pt idx="1">
                  <c:v>24</c:v>
                </c:pt>
                <c:pt idx="2">
                  <c:v>36</c:v>
                </c:pt>
                <c:pt idx="3">
                  <c:v>2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12-40FF-B596-4984E57F3204}"/>
            </c:ext>
          </c:extLst>
        </c:ser>
        <c:ser>
          <c:idx val="2"/>
          <c:order val="2"/>
          <c:tx>
            <c:strRef>
              <c:f>'Tahap pencapaian'!$Q$40</c:f>
              <c:strCache>
                <c:ptCount val="1"/>
                <c:pt idx="0">
                  <c:v>2007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ahap pencapaian'!$N$41:$N$45</c:f>
              <c:strCache>
                <c:ptCount val="5"/>
                <c:pt idx="0">
                  <c:v>  x ≥ 625</c:v>
                </c:pt>
                <c:pt idx="1">
                  <c:v>  550 ≤ x ≤ 625</c:v>
                </c:pt>
                <c:pt idx="2">
                  <c:v>  475 ≤ x ≤ 550</c:v>
                </c:pt>
                <c:pt idx="3">
                  <c:v>  400 ≤ x ≤ 475</c:v>
                </c:pt>
                <c:pt idx="4">
                  <c:v>     0 ≤ x &lt; 400</c:v>
                </c:pt>
              </c:strCache>
            </c:strRef>
          </c:cat>
          <c:val>
            <c:numRef>
              <c:f>'Tahap pencapaian'!$Q$41:$Q$45</c:f>
              <c:numCache>
                <c:formatCode>General</c:formatCode>
                <c:ptCount val="5"/>
                <c:pt idx="0">
                  <c:v>2</c:v>
                </c:pt>
                <c:pt idx="1">
                  <c:v>16</c:v>
                </c:pt>
                <c:pt idx="2">
                  <c:v>32</c:v>
                </c:pt>
                <c:pt idx="3">
                  <c:v>32</c:v>
                </c:pt>
                <c:pt idx="4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D12-40FF-B596-4984E57F3204}"/>
            </c:ext>
          </c:extLst>
        </c:ser>
        <c:ser>
          <c:idx val="3"/>
          <c:order val="3"/>
          <c:tx>
            <c:strRef>
              <c:f>'Tahap pencapaian'!$R$40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00FF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ms-MY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ahap pencapaian'!$N$41:$N$45</c:f>
              <c:strCache>
                <c:ptCount val="5"/>
                <c:pt idx="0">
                  <c:v>  x ≥ 625</c:v>
                </c:pt>
                <c:pt idx="1">
                  <c:v>  550 ≤ x ≤ 625</c:v>
                </c:pt>
                <c:pt idx="2">
                  <c:v>  475 ≤ x ≤ 550</c:v>
                </c:pt>
                <c:pt idx="3">
                  <c:v>  400 ≤ x ≤ 475</c:v>
                </c:pt>
                <c:pt idx="4">
                  <c:v>     0 ≤ x &lt; 400</c:v>
                </c:pt>
              </c:strCache>
            </c:strRef>
          </c:cat>
          <c:val>
            <c:numRef>
              <c:f>'Tahap pencapaian'!$R$41:$R$45</c:f>
              <c:numCache>
                <c:formatCode>General</c:formatCode>
                <c:ptCount val="5"/>
                <c:pt idx="0">
                  <c:v>2</c:v>
                </c:pt>
                <c:pt idx="1">
                  <c:v>10</c:v>
                </c:pt>
                <c:pt idx="2">
                  <c:v>24</c:v>
                </c:pt>
                <c:pt idx="3">
                  <c:v>29</c:v>
                </c:pt>
                <c:pt idx="4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D12-40FF-B596-4984E57F32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431778432"/>
        <c:axId val="431788416"/>
      </c:barChart>
      <c:catAx>
        <c:axId val="431778432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ms-MY" sz="2400"/>
            </a:pPr>
            <a:endParaRPr lang="en-US"/>
          </a:p>
        </c:txPr>
        <c:crossAx val="431788416"/>
        <c:crosses val="autoZero"/>
        <c:auto val="1"/>
        <c:lblAlgn val="ctr"/>
        <c:lblOffset val="100"/>
        <c:noMultiLvlLbl val="0"/>
      </c:catAx>
      <c:valAx>
        <c:axId val="4317884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431778432"/>
        <c:crosses val="autoZero"/>
        <c:crossBetween val="between"/>
      </c:valAx>
    </c:plotArea>
    <c:legend>
      <c:legendPos val="t"/>
      <c:overlay val="0"/>
      <c:txPr>
        <a:bodyPr/>
        <a:lstStyle/>
        <a:p>
          <a:pPr rtl="0">
            <a:defRPr lang="ms-MY"/>
          </a:pPr>
          <a:endParaRPr lang="en-US"/>
        </a:p>
      </c:txPr>
    </c:legend>
    <c:plotVisOnly val="1"/>
    <c:dispBlanksAs val="gap"/>
    <c:showDLblsOverMax val="0"/>
  </c:chart>
  <c:spPr>
    <a:solidFill>
      <a:srgbClr val="FFFF99"/>
    </a:solidFill>
  </c:spPr>
  <c:txPr>
    <a:bodyPr/>
    <a:lstStyle/>
    <a:p>
      <a:pPr>
        <a:defRPr sz="1600"/>
      </a:pPr>
      <a:endParaRPr lang="en-US"/>
    </a:p>
  </c:txPr>
  <c:externalData r:id="rId2">
    <c:autoUpdate val="0"/>
  </c:externalData>
  <c:userShapes r:id="rId3"/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ata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image" Target="../media/image30.jp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image" Target="../media/image33.png"/><Relationship Id="rId4" Type="http://schemas.openxmlformats.org/officeDocument/2006/relationships/image" Target="../media/image36.jpg"/></Relationships>
</file>

<file path=ppt/diagrams/_rels/data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g"/><Relationship Id="rId1" Type="http://schemas.openxmlformats.org/officeDocument/2006/relationships/image" Target="../media/image37.jp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_rels/drawing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image" Target="../media/image1.jpeg"/><Relationship Id="rId4" Type="http://schemas.openxmlformats.org/officeDocument/2006/relationships/image" Target="../media/image32.png"/></Relationships>
</file>

<file path=ppt/diagrams/_rels/drawing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image" Target="../media/image33.png"/><Relationship Id="rId4" Type="http://schemas.openxmlformats.org/officeDocument/2006/relationships/image" Target="../media/image36.jpg"/></Relationships>
</file>

<file path=ppt/diagrams/_rels/drawing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jpg"/><Relationship Id="rId1" Type="http://schemas.openxmlformats.org/officeDocument/2006/relationships/image" Target="../media/image37.jp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604DF1-098D-4D80-9351-791069FCD3D2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9F973E7-727D-48DE-8A92-26D42D400D82}">
      <dgm:prSet phldrT="[Text]"/>
      <dgm:spPr/>
      <dgm:t>
        <a:bodyPr/>
        <a:lstStyle/>
        <a:p>
          <a:r>
            <a:rPr lang="en-MY" smtClean="0"/>
            <a:t>Outcome based education</a:t>
          </a:r>
          <a:endParaRPr lang="en-US"/>
        </a:p>
      </dgm:t>
    </dgm:pt>
    <dgm:pt modelId="{57A4248A-54D5-4D30-819B-553A114DDC22}" type="parTrans" cxnId="{D8B48AB1-DCB6-45C6-B617-2517F48685E5}">
      <dgm:prSet/>
      <dgm:spPr/>
      <dgm:t>
        <a:bodyPr/>
        <a:lstStyle/>
        <a:p>
          <a:endParaRPr lang="en-US"/>
        </a:p>
      </dgm:t>
    </dgm:pt>
    <dgm:pt modelId="{647C4F66-C474-4A91-BFBF-C691FFC11A01}" type="sibTrans" cxnId="{D8B48AB1-DCB6-45C6-B617-2517F48685E5}">
      <dgm:prSet/>
      <dgm:spPr/>
      <dgm:t>
        <a:bodyPr/>
        <a:lstStyle/>
        <a:p>
          <a:endParaRPr lang="en-US"/>
        </a:p>
      </dgm:t>
    </dgm:pt>
    <dgm:pt modelId="{86C0EAE5-E8A0-4299-9F1C-666923A332E6}">
      <dgm:prSet phldrT="[Text]"/>
      <dgm:spPr/>
      <dgm:t>
        <a:bodyPr/>
        <a:lstStyle/>
        <a:p>
          <a:r>
            <a:rPr lang="en-MY" smtClean="0"/>
            <a:t>Standard-based education</a:t>
          </a:r>
          <a:endParaRPr lang="en-US"/>
        </a:p>
      </dgm:t>
    </dgm:pt>
    <dgm:pt modelId="{BE279D33-4A5B-49AC-AE3D-616146705E8C}" type="parTrans" cxnId="{C699974D-97C2-4914-B5F6-3FB1D8E5C759}">
      <dgm:prSet/>
      <dgm:spPr/>
      <dgm:t>
        <a:bodyPr/>
        <a:lstStyle/>
        <a:p>
          <a:endParaRPr lang="en-US"/>
        </a:p>
      </dgm:t>
    </dgm:pt>
    <dgm:pt modelId="{A1B7748E-FCF7-405C-9123-9806631CD70C}" type="sibTrans" cxnId="{C699974D-97C2-4914-B5F6-3FB1D8E5C759}">
      <dgm:prSet/>
      <dgm:spPr/>
      <dgm:t>
        <a:bodyPr/>
        <a:lstStyle/>
        <a:p>
          <a:endParaRPr lang="en-US"/>
        </a:p>
      </dgm:t>
    </dgm:pt>
    <dgm:pt modelId="{E86D20A6-5F04-4392-9C58-A31CB3E58CE5}" type="pres">
      <dgm:prSet presAssocID="{FD604DF1-098D-4D80-9351-791069FCD3D2}" presName="CompostProcess" presStyleCnt="0">
        <dgm:presLayoutVars>
          <dgm:dir/>
          <dgm:resizeHandles val="exact"/>
        </dgm:presLayoutVars>
      </dgm:prSet>
      <dgm:spPr/>
    </dgm:pt>
    <dgm:pt modelId="{24C49BCB-1DC2-4F44-A730-5DA236B8B30C}" type="pres">
      <dgm:prSet presAssocID="{FD604DF1-098D-4D80-9351-791069FCD3D2}" presName="arrow" presStyleLbl="bgShp" presStyleIdx="0" presStyleCnt="1" custLinFactNeighborX="-5298" custLinFactNeighborY="-16672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CB623F1-9901-42A5-BBA4-F6854F3EBB06}" type="pres">
      <dgm:prSet presAssocID="{FD604DF1-098D-4D80-9351-791069FCD3D2}" presName="linearProcess" presStyleCnt="0"/>
      <dgm:spPr/>
    </dgm:pt>
    <dgm:pt modelId="{1E3A59C6-0DF0-4C77-BFF7-58BE4EC6A43D}" type="pres">
      <dgm:prSet presAssocID="{C9F973E7-727D-48DE-8A92-26D42D400D82}" presName="textNode" presStyleLbl="node1" presStyleIdx="0" presStyleCnt="2" custScaleX="76752" custLinFactX="-6686" custLinFactNeighborX="-100000" custLinFactNeighborY="10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139C36-53B7-4948-A813-3CE2EC11307F}" type="pres">
      <dgm:prSet presAssocID="{647C4F66-C474-4A91-BFBF-C691FFC11A01}" presName="sibTrans" presStyleCnt="0"/>
      <dgm:spPr/>
    </dgm:pt>
    <dgm:pt modelId="{B0EAE1C4-5D96-41AF-B9D9-746FE6CE9172}" type="pres">
      <dgm:prSet presAssocID="{86C0EAE5-E8A0-4299-9F1C-666923A332E6}" presName="textNode" presStyleLbl="node1" presStyleIdx="1" presStyleCnt="2" custScaleX="76752" custLinFactX="-7553" custLinFactNeighborX="-100000" custLinFactNeighborY="3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2777082-827E-446D-B73E-79D1F040B3AA}" type="presOf" srcId="{86C0EAE5-E8A0-4299-9F1C-666923A332E6}" destId="{B0EAE1C4-5D96-41AF-B9D9-746FE6CE9172}" srcOrd="0" destOrd="0" presId="urn:microsoft.com/office/officeart/2005/8/layout/hProcess9"/>
    <dgm:cxn modelId="{C699974D-97C2-4914-B5F6-3FB1D8E5C759}" srcId="{FD604DF1-098D-4D80-9351-791069FCD3D2}" destId="{86C0EAE5-E8A0-4299-9F1C-666923A332E6}" srcOrd="1" destOrd="0" parTransId="{BE279D33-4A5B-49AC-AE3D-616146705E8C}" sibTransId="{A1B7748E-FCF7-405C-9123-9806631CD70C}"/>
    <dgm:cxn modelId="{D8B48AB1-DCB6-45C6-B617-2517F48685E5}" srcId="{FD604DF1-098D-4D80-9351-791069FCD3D2}" destId="{C9F973E7-727D-48DE-8A92-26D42D400D82}" srcOrd="0" destOrd="0" parTransId="{57A4248A-54D5-4D30-819B-553A114DDC22}" sibTransId="{647C4F66-C474-4A91-BFBF-C691FFC11A01}"/>
    <dgm:cxn modelId="{EF5D5F28-E7B1-47C1-ADBC-71969917E339}" type="presOf" srcId="{C9F973E7-727D-48DE-8A92-26D42D400D82}" destId="{1E3A59C6-0DF0-4C77-BFF7-58BE4EC6A43D}" srcOrd="0" destOrd="0" presId="urn:microsoft.com/office/officeart/2005/8/layout/hProcess9"/>
    <dgm:cxn modelId="{50978038-33A8-4B9C-96E9-75317D1AC159}" type="presOf" srcId="{FD604DF1-098D-4D80-9351-791069FCD3D2}" destId="{E86D20A6-5F04-4392-9C58-A31CB3E58CE5}" srcOrd="0" destOrd="0" presId="urn:microsoft.com/office/officeart/2005/8/layout/hProcess9"/>
    <dgm:cxn modelId="{25CB1CBC-3699-4E48-988C-4FE3F7EC6650}" type="presParOf" srcId="{E86D20A6-5F04-4392-9C58-A31CB3E58CE5}" destId="{24C49BCB-1DC2-4F44-A730-5DA236B8B30C}" srcOrd="0" destOrd="0" presId="urn:microsoft.com/office/officeart/2005/8/layout/hProcess9"/>
    <dgm:cxn modelId="{662AEA52-47B5-4B6C-98C2-4E8E0372CDA2}" type="presParOf" srcId="{E86D20A6-5F04-4392-9C58-A31CB3E58CE5}" destId="{DCB623F1-9901-42A5-BBA4-F6854F3EBB06}" srcOrd="1" destOrd="0" presId="urn:microsoft.com/office/officeart/2005/8/layout/hProcess9"/>
    <dgm:cxn modelId="{CF03459F-502A-46DE-8896-7F3E491ABAB5}" type="presParOf" srcId="{DCB623F1-9901-42A5-BBA4-F6854F3EBB06}" destId="{1E3A59C6-0DF0-4C77-BFF7-58BE4EC6A43D}" srcOrd="0" destOrd="0" presId="urn:microsoft.com/office/officeart/2005/8/layout/hProcess9"/>
    <dgm:cxn modelId="{4422A127-FCC9-488D-8668-1954754553B5}" type="presParOf" srcId="{DCB623F1-9901-42A5-BBA4-F6854F3EBB06}" destId="{88139C36-53B7-4948-A813-3CE2EC11307F}" srcOrd="1" destOrd="0" presId="urn:microsoft.com/office/officeart/2005/8/layout/hProcess9"/>
    <dgm:cxn modelId="{F686D5E5-BF92-46FA-8F9B-14A6690C265C}" type="presParOf" srcId="{DCB623F1-9901-42A5-BBA4-F6854F3EBB06}" destId="{B0EAE1C4-5D96-41AF-B9D9-746FE6CE9172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66124283-2298-4EE4-A8CF-15ACD6C2F426}" type="doc">
      <dgm:prSet loTypeId="urn:microsoft.com/office/officeart/2005/8/layout/matrix1" loCatId="matrix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F8F3ED09-1527-48B2-8575-C5549047B55F}">
      <dgm:prSet phldrT="[Text]"/>
      <dgm:spPr/>
      <dgm:t>
        <a:bodyPr/>
        <a:lstStyle/>
        <a:p>
          <a:r>
            <a:rPr lang="en-MY" smtClean="0"/>
            <a:t>School Based Assessment</a:t>
          </a:r>
          <a:endParaRPr lang="en-US"/>
        </a:p>
      </dgm:t>
    </dgm:pt>
    <dgm:pt modelId="{CCA7936F-34E5-4B43-A672-C0CBC83B5FF4}" type="parTrans" cxnId="{FAD2C68C-6045-4FF1-97A7-91D251AFD812}">
      <dgm:prSet/>
      <dgm:spPr/>
      <dgm:t>
        <a:bodyPr/>
        <a:lstStyle/>
        <a:p>
          <a:endParaRPr lang="en-US"/>
        </a:p>
      </dgm:t>
    </dgm:pt>
    <dgm:pt modelId="{99818CCC-2CE7-417C-8BEA-D1413ADA7170}" type="sibTrans" cxnId="{FAD2C68C-6045-4FF1-97A7-91D251AFD812}">
      <dgm:prSet/>
      <dgm:spPr/>
      <dgm:t>
        <a:bodyPr/>
        <a:lstStyle/>
        <a:p>
          <a:endParaRPr lang="en-US"/>
        </a:p>
      </dgm:t>
    </dgm:pt>
    <dgm:pt modelId="{778DADBF-14B6-4C8B-9F48-63494FA8CC91}">
      <dgm:prSet phldrT="[Text]" custT="1"/>
      <dgm:spPr/>
      <dgm:t>
        <a:bodyPr/>
        <a:lstStyle/>
        <a:p>
          <a:r>
            <a:rPr lang="en-MY" sz="4400" smtClean="0"/>
            <a:t>School Assessment</a:t>
          </a:r>
          <a:endParaRPr lang="en-US" sz="4400"/>
        </a:p>
      </dgm:t>
    </dgm:pt>
    <dgm:pt modelId="{0F25CB88-AAC4-4FF7-BAA5-68EE408CC70F}" type="parTrans" cxnId="{29C48A58-D754-4FA6-945A-EF3AB0AFD027}">
      <dgm:prSet/>
      <dgm:spPr/>
      <dgm:t>
        <a:bodyPr/>
        <a:lstStyle/>
        <a:p>
          <a:endParaRPr lang="en-US"/>
        </a:p>
      </dgm:t>
    </dgm:pt>
    <dgm:pt modelId="{4B2A5A52-6397-40DE-AA36-0C0FAAF5B793}" type="sibTrans" cxnId="{29C48A58-D754-4FA6-945A-EF3AB0AFD027}">
      <dgm:prSet/>
      <dgm:spPr/>
      <dgm:t>
        <a:bodyPr/>
        <a:lstStyle/>
        <a:p>
          <a:endParaRPr lang="en-US"/>
        </a:p>
      </dgm:t>
    </dgm:pt>
    <dgm:pt modelId="{CAFFE3CA-55A6-466A-8C2A-82F3D17FDEC0}">
      <dgm:prSet phldrT="[Text]" custT="1"/>
      <dgm:spPr/>
      <dgm:t>
        <a:bodyPr/>
        <a:lstStyle/>
        <a:p>
          <a:r>
            <a:rPr lang="en-US" sz="3200" smtClean="0"/>
            <a:t>Physical activities, sports, and co-curricular Assessment</a:t>
          </a:r>
          <a:endParaRPr lang="en-US" sz="7200">
            <a:solidFill>
              <a:srgbClr val="FF0000"/>
            </a:solidFill>
          </a:endParaRPr>
        </a:p>
      </dgm:t>
    </dgm:pt>
    <dgm:pt modelId="{14612558-3647-4FFE-9400-F25F6D983063}" type="parTrans" cxnId="{AC583058-2947-46BF-A6AC-897F6E6F11FB}">
      <dgm:prSet/>
      <dgm:spPr/>
      <dgm:t>
        <a:bodyPr/>
        <a:lstStyle/>
        <a:p>
          <a:endParaRPr lang="en-US"/>
        </a:p>
      </dgm:t>
    </dgm:pt>
    <dgm:pt modelId="{81EE785F-1A33-46A3-B961-BA44EBD73A94}" type="sibTrans" cxnId="{AC583058-2947-46BF-A6AC-897F6E6F11FB}">
      <dgm:prSet/>
      <dgm:spPr/>
      <dgm:t>
        <a:bodyPr/>
        <a:lstStyle/>
        <a:p>
          <a:endParaRPr lang="en-US"/>
        </a:p>
      </dgm:t>
    </dgm:pt>
    <dgm:pt modelId="{758218DC-B274-4449-9B7E-9F9B90F2259D}">
      <dgm:prSet phldrT="[Text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mtClean="0"/>
            <a:t>Psychometric Assessment</a:t>
          </a:r>
        </a:p>
        <a:p>
          <a:pPr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/>
        </a:p>
      </dgm:t>
    </dgm:pt>
    <dgm:pt modelId="{94B48EF4-AA27-431A-B8E7-73BEE71AA427}" type="parTrans" cxnId="{CACBFB3E-8546-4C76-B35B-582EC208B2D5}">
      <dgm:prSet/>
      <dgm:spPr/>
      <dgm:t>
        <a:bodyPr/>
        <a:lstStyle/>
        <a:p>
          <a:endParaRPr lang="en-US"/>
        </a:p>
      </dgm:t>
    </dgm:pt>
    <dgm:pt modelId="{50B2794E-83D1-428F-9D57-B7BAB0101A03}" type="sibTrans" cxnId="{CACBFB3E-8546-4C76-B35B-582EC208B2D5}">
      <dgm:prSet/>
      <dgm:spPr/>
      <dgm:t>
        <a:bodyPr/>
        <a:lstStyle/>
        <a:p>
          <a:endParaRPr lang="en-US"/>
        </a:p>
      </dgm:t>
    </dgm:pt>
    <dgm:pt modelId="{CD1FF14C-585B-469A-979D-0FCB5D18A336}">
      <dgm:prSet phldrT="[Text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MY" sz="7200" b="0" smtClean="0">
              <a:solidFill>
                <a:srgbClr val="FF0000"/>
              </a:solidFill>
            </a:rPr>
            <a:t>Central Assessment</a:t>
          </a:r>
          <a:endParaRPr lang="en-US" sz="7200" b="0" smtClean="0">
            <a:solidFill>
              <a:srgbClr val="FF0000"/>
            </a:solidFill>
          </a:endParaRPr>
        </a:p>
        <a:p>
          <a:pPr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/>
        </a:p>
      </dgm:t>
    </dgm:pt>
    <dgm:pt modelId="{6998BFE4-12CC-4C48-8023-A66C6A84D89C}" type="parTrans" cxnId="{7D59399E-49CD-40D0-A9E6-A8C919A800A8}">
      <dgm:prSet/>
      <dgm:spPr/>
      <dgm:t>
        <a:bodyPr/>
        <a:lstStyle/>
        <a:p>
          <a:endParaRPr lang="en-US"/>
        </a:p>
      </dgm:t>
    </dgm:pt>
    <dgm:pt modelId="{002AFC14-D136-4D25-BC51-7A4E2C4873E2}" type="sibTrans" cxnId="{7D59399E-49CD-40D0-A9E6-A8C919A800A8}">
      <dgm:prSet/>
      <dgm:spPr/>
      <dgm:t>
        <a:bodyPr/>
        <a:lstStyle/>
        <a:p>
          <a:endParaRPr lang="en-US"/>
        </a:p>
      </dgm:t>
    </dgm:pt>
    <dgm:pt modelId="{9577B479-A6D4-4FF6-9545-75200ACD5E1E}" type="pres">
      <dgm:prSet presAssocID="{66124283-2298-4EE4-A8CF-15ACD6C2F426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739C99D-E237-4F62-BF96-653A9AAE0D8D}" type="pres">
      <dgm:prSet presAssocID="{66124283-2298-4EE4-A8CF-15ACD6C2F426}" presName="matrix" presStyleCnt="0"/>
      <dgm:spPr/>
    </dgm:pt>
    <dgm:pt modelId="{F338B9AB-7205-499D-8A54-DDB0425C0872}" type="pres">
      <dgm:prSet presAssocID="{66124283-2298-4EE4-A8CF-15ACD6C2F426}" presName="tile1" presStyleLbl="node1" presStyleIdx="0" presStyleCnt="4"/>
      <dgm:spPr/>
      <dgm:t>
        <a:bodyPr/>
        <a:lstStyle/>
        <a:p>
          <a:endParaRPr lang="en-US"/>
        </a:p>
      </dgm:t>
    </dgm:pt>
    <dgm:pt modelId="{944641F2-D3E5-4AD7-9D3B-BC5693620EBA}" type="pres">
      <dgm:prSet presAssocID="{66124283-2298-4EE4-A8CF-15ACD6C2F426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98B822-FE5E-464A-842F-2C66B19DBCD0}" type="pres">
      <dgm:prSet presAssocID="{66124283-2298-4EE4-A8CF-15ACD6C2F426}" presName="tile2" presStyleLbl="node1" presStyleIdx="1" presStyleCnt="4"/>
      <dgm:spPr/>
      <dgm:t>
        <a:bodyPr/>
        <a:lstStyle/>
        <a:p>
          <a:endParaRPr lang="en-US"/>
        </a:p>
      </dgm:t>
    </dgm:pt>
    <dgm:pt modelId="{A081ADD9-BDB3-454C-BD7E-5DD1022539D9}" type="pres">
      <dgm:prSet presAssocID="{66124283-2298-4EE4-A8CF-15ACD6C2F426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A3AAE2-09E8-4589-BD57-2577130FC97A}" type="pres">
      <dgm:prSet presAssocID="{66124283-2298-4EE4-A8CF-15ACD6C2F426}" presName="tile3" presStyleLbl="node1" presStyleIdx="2" presStyleCnt="4"/>
      <dgm:spPr/>
      <dgm:t>
        <a:bodyPr/>
        <a:lstStyle/>
        <a:p>
          <a:endParaRPr lang="en-US"/>
        </a:p>
      </dgm:t>
    </dgm:pt>
    <dgm:pt modelId="{2DB7D94F-2445-4A80-A41E-A91DC90E89E1}" type="pres">
      <dgm:prSet presAssocID="{66124283-2298-4EE4-A8CF-15ACD6C2F426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D1CCC2-B74E-434B-B4E6-44ED5F239B19}" type="pres">
      <dgm:prSet presAssocID="{66124283-2298-4EE4-A8CF-15ACD6C2F426}" presName="tile4" presStyleLbl="node1" presStyleIdx="3" presStyleCnt="4"/>
      <dgm:spPr/>
      <dgm:t>
        <a:bodyPr/>
        <a:lstStyle/>
        <a:p>
          <a:endParaRPr lang="en-US"/>
        </a:p>
      </dgm:t>
    </dgm:pt>
    <dgm:pt modelId="{5004EDA6-A0E4-4D5E-A90C-EDDAED27261A}" type="pres">
      <dgm:prSet presAssocID="{66124283-2298-4EE4-A8CF-15ACD6C2F426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80AED5-3636-4056-9F81-3819AB4F9524}" type="pres">
      <dgm:prSet presAssocID="{66124283-2298-4EE4-A8CF-15ACD6C2F426}" presName="centerTile" presStyleLbl="fgShp" presStyleIdx="0" presStyleCnt="1" custScaleX="200000" custScaleY="116348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</dgm:ptLst>
  <dgm:cxnLst>
    <dgm:cxn modelId="{8292AE9F-1A95-432C-9D22-1F30787C6FC2}" type="presOf" srcId="{CD1FF14C-585B-469A-979D-0FCB5D18A336}" destId="{5004EDA6-A0E4-4D5E-A90C-EDDAED27261A}" srcOrd="1" destOrd="0" presId="urn:microsoft.com/office/officeart/2005/8/layout/matrix1"/>
    <dgm:cxn modelId="{AC583058-2947-46BF-A6AC-897F6E6F11FB}" srcId="{F8F3ED09-1527-48B2-8575-C5549047B55F}" destId="{CAFFE3CA-55A6-466A-8C2A-82F3D17FDEC0}" srcOrd="1" destOrd="0" parTransId="{14612558-3647-4FFE-9400-F25F6D983063}" sibTransId="{81EE785F-1A33-46A3-B961-BA44EBD73A94}"/>
    <dgm:cxn modelId="{7D59399E-49CD-40D0-A9E6-A8C919A800A8}" srcId="{F8F3ED09-1527-48B2-8575-C5549047B55F}" destId="{CD1FF14C-585B-469A-979D-0FCB5D18A336}" srcOrd="3" destOrd="0" parTransId="{6998BFE4-12CC-4C48-8023-A66C6A84D89C}" sibTransId="{002AFC14-D136-4D25-BC51-7A4E2C4873E2}"/>
    <dgm:cxn modelId="{B792A2D9-12CD-4BBF-8DE0-F0B112BB488F}" type="presOf" srcId="{F8F3ED09-1527-48B2-8575-C5549047B55F}" destId="{2180AED5-3636-4056-9F81-3819AB4F9524}" srcOrd="0" destOrd="0" presId="urn:microsoft.com/office/officeart/2005/8/layout/matrix1"/>
    <dgm:cxn modelId="{FAD2C68C-6045-4FF1-97A7-91D251AFD812}" srcId="{66124283-2298-4EE4-A8CF-15ACD6C2F426}" destId="{F8F3ED09-1527-48B2-8575-C5549047B55F}" srcOrd="0" destOrd="0" parTransId="{CCA7936F-34E5-4B43-A672-C0CBC83B5FF4}" sibTransId="{99818CCC-2CE7-417C-8BEA-D1413ADA7170}"/>
    <dgm:cxn modelId="{CACBFB3E-8546-4C76-B35B-582EC208B2D5}" srcId="{F8F3ED09-1527-48B2-8575-C5549047B55F}" destId="{758218DC-B274-4449-9B7E-9F9B90F2259D}" srcOrd="2" destOrd="0" parTransId="{94B48EF4-AA27-431A-B8E7-73BEE71AA427}" sibTransId="{50B2794E-83D1-428F-9D57-B7BAB0101A03}"/>
    <dgm:cxn modelId="{96842A73-6CA3-45B9-8064-2C09A725D318}" type="presOf" srcId="{CAFFE3CA-55A6-466A-8C2A-82F3D17FDEC0}" destId="{F998B822-FE5E-464A-842F-2C66B19DBCD0}" srcOrd="0" destOrd="0" presId="urn:microsoft.com/office/officeart/2005/8/layout/matrix1"/>
    <dgm:cxn modelId="{287609AD-5DC0-45A2-B603-A637FF74B905}" type="presOf" srcId="{CAFFE3CA-55A6-466A-8C2A-82F3D17FDEC0}" destId="{A081ADD9-BDB3-454C-BD7E-5DD1022539D9}" srcOrd="1" destOrd="0" presId="urn:microsoft.com/office/officeart/2005/8/layout/matrix1"/>
    <dgm:cxn modelId="{E92D298D-E595-42C5-9F96-6864ED235AB5}" type="presOf" srcId="{778DADBF-14B6-4C8B-9F48-63494FA8CC91}" destId="{944641F2-D3E5-4AD7-9D3B-BC5693620EBA}" srcOrd="1" destOrd="0" presId="urn:microsoft.com/office/officeart/2005/8/layout/matrix1"/>
    <dgm:cxn modelId="{29C48A58-D754-4FA6-945A-EF3AB0AFD027}" srcId="{F8F3ED09-1527-48B2-8575-C5549047B55F}" destId="{778DADBF-14B6-4C8B-9F48-63494FA8CC91}" srcOrd="0" destOrd="0" parTransId="{0F25CB88-AAC4-4FF7-BAA5-68EE408CC70F}" sibTransId="{4B2A5A52-6397-40DE-AA36-0C0FAAF5B793}"/>
    <dgm:cxn modelId="{76721E5D-44BF-426C-A13B-22BFFCCA7DC9}" type="presOf" srcId="{758218DC-B274-4449-9B7E-9F9B90F2259D}" destId="{2DB7D94F-2445-4A80-A41E-A91DC90E89E1}" srcOrd="1" destOrd="0" presId="urn:microsoft.com/office/officeart/2005/8/layout/matrix1"/>
    <dgm:cxn modelId="{CB5D1A4D-636C-48E9-AAE6-973C202A8C94}" type="presOf" srcId="{66124283-2298-4EE4-A8CF-15ACD6C2F426}" destId="{9577B479-A6D4-4FF6-9545-75200ACD5E1E}" srcOrd="0" destOrd="0" presId="urn:microsoft.com/office/officeart/2005/8/layout/matrix1"/>
    <dgm:cxn modelId="{769BD7AD-F4ED-4FD0-9644-220A348CDE60}" type="presOf" srcId="{CD1FF14C-585B-469A-979D-0FCB5D18A336}" destId="{02D1CCC2-B74E-434B-B4E6-44ED5F239B19}" srcOrd="0" destOrd="0" presId="urn:microsoft.com/office/officeart/2005/8/layout/matrix1"/>
    <dgm:cxn modelId="{35F3CE10-76D7-4FAB-8FCE-3E06EEB04D12}" type="presOf" srcId="{758218DC-B274-4449-9B7E-9F9B90F2259D}" destId="{40A3AAE2-09E8-4589-BD57-2577130FC97A}" srcOrd="0" destOrd="0" presId="urn:microsoft.com/office/officeart/2005/8/layout/matrix1"/>
    <dgm:cxn modelId="{97C02B7A-DA76-4659-9679-1F6DD7C7C258}" type="presOf" srcId="{778DADBF-14B6-4C8B-9F48-63494FA8CC91}" destId="{F338B9AB-7205-499D-8A54-DDB0425C0872}" srcOrd="0" destOrd="0" presId="urn:microsoft.com/office/officeart/2005/8/layout/matrix1"/>
    <dgm:cxn modelId="{144F9DB5-7B03-4391-A76B-87DD11B56931}" type="presParOf" srcId="{9577B479-A6D4-4FF6-9545-75200ACD5E1E}" destId="{0739C99D-E237-4F62-BF96-653A9AAE0D8D}" srcOrd="0" destOrd="0" presId="urn:microsoft.com/office/officeart/2005/8/layout/matrix1"/>
    <dgm:cxn modelId="{AFF181C1-F759-4E05-9941-EBE6A5E0BD43}" type="presParOf" srcId="{0739C99D-E237-4F62-BF96-653A9AAE0D8D}" destId="{F338B9AB-7205-499D-8A54-DDB0425C0872}" srcOrd="0" destOrd="0" presId="urn:microsoft.com/office/officeart/2005/8/layout/matrix1"/>
    <dgm:cxn modelId="{E3201E74-C2C7-4889-9406-56A04529847D}" type="presParOf" srcId="{0739C99D-E237-4F62-BF96-653A9AAE0D8D}" destId="{944641F2-D3E5-4AD7-9D3B-BC5693620EBA}" srcOrd="1" destOrd="0" presId="urn:microsoft.com/office/officeart/2005/8/layout/matrix1"/>
    <dgm:cxn modelId="{D6F5F6DD-5F28-408B-98C6-CA2E837D171C}" type="presParOf" srcId="{0739C99D-E237-4F62-BF96-653A9AAE0D8D}" destId="{F998B822-FE5E-464A-842F-2C66B19DBCD0}" srcOrd="2" destOrd="0" presId="urn:microsoft.com/office/officeart/2005/8/layout/matrix1"/>
    <dgm:cxn modelId="{1DA873B6-2B39-47A0-9FAA-5E9AD1C7AA94}" type="presParOf" srcId="{0739C99D-E237-4F62-BF96-653A9AAE0D8D}" destId="{A081ADD9-BDB3-454C-BD7E-5DD1022539D9}" srcOrd="3" destOrd="0" presId="urn:microsoft.com/office/officeart/2005/8/layout/matrix1"/>
    <dgm:cxn modelId="{DE79AE2C-1D92-458B-8199-6497FEEFB860}" type="presParOf" srcId="{0739C99D-E237-4F62-BF96-653A9AAE0D8D}" destId="{40A3AAE2-09E8-4589-BD57-2577130FC97A}" srcOrd="4" destOrd="0" presId="urn:microsoft.com/office/officeart/2005/8/layout/matrix1"/>
    <dgm:cxn modelId="{3BA2B416-AD68-4113-B337-B60876164A24}" type="presParOf" srcId="{0739C99D-E237-4F62-BF96-653A9AAE0D8D}" destId="{2DB7D94F-2445-4A80-A41E-A91DC90E89E1}" srcOrd="5" destOrd="0" presId="urn:microsoft.com/office/officeart/2005/8/layout/matrix1"/>
    <dgm:cxn modelId="{8EE996D3-B403-4229-8074-D15697EBEB1B}" type="presParOf" srcId="{0739C99D-E237-4F62-BF96-653A9AAE0D8D}" destId="{02D1CCC2-B74E-434B-B4E6-44ED5F239B19}" srcOrd="6" destOrd="0" presId="urn:microsoft.com/office/officeart/2005/8/layout/matrix1"/>
    <dgm:cxn modelId="{8F2FD262-337D-49F3-B03F-54B4E4C5EDED}" type="presParOf" srcId="{0739C99D-E237-4F62-BF96-653A9AAE0D8D}" destId="{5004EDA6-A0E4-4D5E-A90C-EDDAED27261A}" srcOrd="7" destOrd="0" presId="urn:microsoft.com/office/officeart/2005/8/layout/matrix1"/>
    <dgm:cxn modelId="{651CB823-06D6-4A25-AD3D-CA908AEB6822}" type="presParOf" srcId="{9577B479-A6D4-4FF6-9545-75200ACD5E1E}" destId="{2180AED5-3636-4056-9F81-3819AB4F9524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B0E41DF0-AE8D-4504-A30E-A48839CF75A7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1C3FFD13-0885-4EEB-A536-C97A2212FA9F}">
      <dgm:prSet phldrT="[Text]"/>
      <dgm:spPr/>
      <dgm:t>
        <a:bodyPr/>
        <a:lstStyle/>
        <a:p>
          <a:r>
            <a:rPr lang="en-MY" smtClean="0">
              <a:solidFill>
                <a:schemeClr val="bg1"/>
              </a:solidFill>
            </a:rPr>
            <a:t>STPM</a:t>
          </a:r>
          <a:endParaRPr lang="en-US">
            <a:solidFill>
              <a:schemeClr val="bg1"/>
            </a:solidFill>
          </a:endParaRPr>
        </a:p>
      </dgm:t>
    </dgm:pt>
    <dgm:pt modelId="{DDD4B7D3-6625-43F6-B5F7-D24F96CECC76}" type="parTrans" cxnId="{64EE482D-349B-4A62-A425-B4CD2C1A0ECA}">
      <dgm:prSet/>
      <dgm:spPr/>
      <dgm:t>
        <a:bodyPr/>
        <a:lstStyle/>
        <a:p>
          <a:endParaRPr lang="en-US"/>
        </a:p>
      </dgm:t>
    </dgm:pt>
    <dgm:pt modelId="{96160749-71BF-4785-AA27-A38D112763C1}" type="sibTrans" cxnId="{64EE482D-349B-4A62-A425-B4CD2C1A0ECA}">
      <dgm:prSet/>
      <dgm:spPr/>
      <dgm:t>
        <a:bodyPr/>
        <a:lstStyle/>
        <a:p>
          <a:endParaRPr lang="en-US"/>
        </a:p>
      </dgm:t>
    </dgm:pt>
    <dgm:pt modelId="{D7E59A02-32DF-4627-A5CD-7D1D5D453FB5}">
      <dgm:prSet phldrT="[Text]"/>
      <dgm:spPr/>
      <dgm:t>
        <a:bodyPr/>
        <a:lstStyle/>
        <a:p>
          <a:r>
            <a:rPr lang="en-MY" smtClean="0">
              <a:solidFill>
                <a:schemeClr val="bg1"/>
              </a:solidFill>
            </a:rPr>
            <a:t>SPM</a:t>
          </a:r>
          <a:endParaRPr lang="en-US">
            <a:solidFill>
              <a:schemeClr val="bg1"/>
            </a:solidFill>
          </a:endParaRPr>
        </a:p>
      </dgm:t>
    </dgm:pt>
    <dgm:pt modelId="{5B21C0EE-07B5-437A-BEA8-8D8888F323A5}" type="parTrans" cxnId="{25537103-8215-4036-9E86-97031F10C375}">
      <dgm:prSet/>
      <dgm:spPr/>
      <dgm:t>
        <a:bodyPr/>
        <a:lstStyle/>
        <a:p>
          <a:endParaRPr lang="en-US"/>
        </a:p>
      </dgm:t>
    </dgm:pt>
    <dgm:pt modelId="{A1B0CB38-450E-45DC-BB2E-546489715910}" type="sibTrans" cxnId="{25537103-8215-4036-9E86-97031F10C375}">
      <dgm:prSet/>
      <dgm:spPr/>
      <dgm:t>
        <a:bodyPr/>
        <a:lstStyle/>
        <a:p>
          <a:endParaRPr lang="en-US"/>
        </a:p>
      </dgm:t>
    </dgm:pt>
    <dgm:pt modelId="{EEC1E592-0313-40D4-B6F7-872C17CC7D56}">
      <dgm:prSet phldrT="[Text]"/>
      <dgm:spPr/>
      <dgm:t>
        <a:bodyPr/>
        <a:lstStyle/>
        <a:p>
          <a:r>
            <a:rPr lang="en-MY" smtClean="0">
              <a:solidFill>
                <a:schemeClr val="bg1"/>
              </a:solidFill>
            </a:rPr>
            <a:t>PT3</a:t>
          </a:r>
          <a:endParaRPr lang="en-US">
            <a:solidFill>
              <a:schemeClr val="bg1"/>
            </a:solidFill>
          </a:endParaRPr>
        </a:p>
      </dgm:t>
    </dgm:pt>
    <dgm:pt modelId="{66EB967F-8B22-4265-A429-92FBA7B99013}" type="parTrans" cxnId="{DF17DD9B-5D93-42B1-BC3C-085E9B9206E7}">
      <dgm:prSet/>
      <dgm:spPr/>
      <dgm:t>
        <a:bodyPr/>
        <a:lstStyle/>
        <a:p>
          <a:endParaRPr lang="en-US"/>
        </a:p>
      </dgm:t>
    </dgm:pt>
    <dgm:pt modelId="{76A006A9-0706-4C91-AA1F-E335B5C4A181}" type="sibTrans" cxnId="{DF17DD9B-5D93-42B1-BC3C-085E9B9206E7}">
      <dgm:prSet/>
      <dgm:spPr/>
      <dgm:t>
        <a:bodyPr/>
        <a:lstStyle/>
        <a:p>
          <a:endParaRPr lang="en-US"/>
        </a:p>
      </dgm:t>
    </dgm:pt>
    <dgm:pt modelId="{32B9FD7C-C768-4E31-BF70-9192DA2B9948}">
      <dgm:prSet phldrT="[Text]"/>
      <dgm:spPr/>
      <dgm:t>
        <a:bodyPr/>
        <a:lstStyle/>
        <a:p>
          <a:r>
            <a:rPr lang="en-MY" smtClean="0">
              <a:solidFill>
                <a:schemeClr val="bg1"/>
              </a:solidFill>
            </a:rPr>
            <a:t>UPSR</a:t>
          </a:r>
          <a:endParaRPr lang="en-US">
            <a:solidFill>
              <a:schemeClr val="bg1"/>
            </a:solidFill>
          </a:endParaRPr>
        </a:p>
      </dgm:t>
    </dgm:pt>
    <dgm:pt modelId="{9F7DF717-1E73-4B15-99E7-437E67AC50B2}" type="parTrans" cxnId="{73A45CA5-9D8E-4F14-BE86-C246DAF0DCAB}">
      <dgm:prSet/>
      <dgm:spPr/>
      <dgm:t>
        <a:bodyPr/>
        <a:lstStyle/>
        <a:p>
          <a:endParaRPr lang="en-US"/>
        </a:p>
      </dgm:t>
    </dgm:pt>
    <dgm:pt modelId="{A0C301BB-617C-4754-98C4-8B975AB7AB90}" type="sibTrans" cxnId="{73A45CA5-9D8E-4F14-BE86-C246DAF0DCAB}">
      <dgm:prSet/>
      <dgm:spPr/>
      <dgm:t>
        <a:bodyPr/>
        <a:lstStyle/>
        <a:p>
          <a:endParaRPr lang="en-US"/>
        </a:p>
      </dgm:t>
    </dgm:pt>
    <dgm:pt modelId="{4E062078-449A-43EB-8B68-97277E3004CA}" type="pres">
      <dgm:prSet presAssocID="{B0E41DF0-AE8D-4504-A30E-A48839CF75A7}" presName="Name0" presStyleCnt="0">
        <dgm:presLayoutVars>
          <dgm:dir/>
          <dgm:animLvl val="lvl"/>
          <dgm:resizeHandles val="exact"/>
        </dgm:presLayoutVars>
      </dgm:prSet>
      <dgm:spPr/>
    </dgm:pt>
    <dgm:pt modelId="{CCAE8283-7667-4CE9-B4AF-01AA14D24055}" type="pres">
      <dgm:prSet presAssocID="{1C3FFD13-0885-4EEB-A536-C97A2212FA9F}" presName="Name8" presStyleCnt="0"/>
      <dgm:spPr/>
    </dgm:pt>
    <dgm:pt modelId="{02252614-EB35-44EF-A98D-6CCD770BA1D3}" type="pres">
      <dgm:prSet presAssocID="{1C3FFD13-0885-4EEB-A536-C97A2212FA9F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00385D-5F54-4AE2-AF8E-8AE5D12033A9}" type="pres">
      <dgm:prSet presAssocID="{1C3FFD13-0885-4EEB-A536-C97A2212FA9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D37F09-8228-4F4D-A058-EDCEBD89A77A}" type="pres">
      <dgm:prSet presAssocID="{D7E59A02-32DF-4627-A5CD-7D1D5D453FB5}" presName="Name8" presStyleCnt="0"/>
      <dgm:spPr/>
    </dgm:pt>
    <dgm:pt modelId="{754AB955-7DF0-42F3-9B37-972187CAC778}" type="pres">
      <dgm:prSet presAssocID="{D7E59A02-32DF-4627-A5CD-7D1D5D453FB5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200314-7D34-456C-922F-7DED9AF33BA9}" type="pres">
      <dgm:prSet presAssocID="{D7E59A02-32DF-4627-A5CD-7D1D5D453FB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C3C7791-E78C-4B24-B0D9-D487E42C7182}" type="pres">
      <dgm:prSet presAssocID="{EEC1E592-0313-40D4-B6F7-872C17CC7D56}" presName="Name8" presStyleCnt="0"/>
      <dgm:spPr/>
    </dgm:pt>
    <dgm:pt modelId="{B382BBB5-A9C8-4861-B25A-56D81D873F79}" type="pres">
      <dgm:prSet presAssocID="{EEC1E592-0313-40D4-B6F7-872C17CC7D56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CB603BA-754F-4CCD-B91F-578A77E11E55}" type="pres">
      <dgm:prSet presAssocID="{EEC1E592-0313-40D4-B6F7-872C17CC7D5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CE7B3B6-743A-4682-92F7-7B5D7E3C060C}" type="pres">
      <dgm:prSet presAssocID="{32B9FD7C-C768-4E31-BF70-9192DA2B9948}" presName="Name8" presStyleCnt="0"/>
      <dgm:spPr/>
    </dgm:pt>
    <dgm:pt modelId="{66D6AF70-7CAB-4519-94A2-049EC26C230D}" type="pres">
      <dgm:prSet presAssocID="{32B9FD7C-C768-4E31-BF70-9192DA2B9948}" presName="level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1A0997-DF2D-4F97-A2B4-7A836062373A}" type="pres">
      <dgm:prSet presAssocID="{32B9FD7C-C768-4E31-BF70-9192DA2B9948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E9E0887-5E2A-4910-BCD9-0C71E6556F19}" type="presOf" srcId="{EEC1E592-0313-40D4-B6F7-872C17CC7D56}" destId="{DCB603BA-754F-4CCD-B91F-578A77E11E55}" srcOrd="1" destOrd="0" presId="urn:microsoft.com/office/officeart/2005/8/layout/pyramid3"/>
    <dgm:cxn modelId="{14EED7F3-CB6E-409B-A52A-12847E45943C}" type="presOf" srcId="{EEC1E592-0313-40D4-B6F7-872C17CC7D56}" destId="{B382BBB5-A9C8-4861-B25A-56D81D873F79}" srcOrd="0" destOrd="0" presId="urn:microsoft.com/office/officeart/2005/8/layout/pyramid3"/>
    <dgm:cxn modelId="{64EE482D-349B-4A62-A425-B4CD2C1A0ECA}" srcId="{B0E41DF0-AE8D-4504-A30E-A48839CF75A7}" destId="{1C3FFD13-0885-4EEB-A536-C97A2212FA9F}" srcOrd="0" destOrd="0" parTransId="{DDD4B7D3-6625-43F6-B5F7-D24F96CECC76}" sibTransId="{96160749-71BF-4785-AA27-A38D112763C1}"/>
    <dgm:cxn modelId="{E9A1F664-B549-4D9E-BBF3-458165351EB9}" type="presOf" srcId="{1C3FFD13-0885-4EEB-A536-C97A2212FA9F}" destId="{02252614-EB35-44EF-A98D-6CCD770BA1D3}" srcOrd="0" destOrd="0" presId="urn:microsoft.com/office/officeart/2005/8/layout/pyramid3"/>
    <dgm:cxn modelId="{73A45CA5-9D8E-4F14-BE86-C246DAF0DCAB}" srcId="{B0E41DF0-AE8D-4504-A30E-A48839CF75A7}" destId="{32B9FD7C-C768-4E31-BF70-9192DA2B9948}" srcOrd="3" destOrd="0" parTransId="{9F7DF717-1E73-4B15-99E7-437E67AC50B2}" sibTransId="{A0C301BB-617C-4754-98C4-8B975AB7AB90}"/>
    <dgm:cxn modelId="{EAA6E40D-C176-48D7-8BA6-FDC0EA539437}" type="presOf" srcId="{1C3FFD13-0885-4EEB-A536-C97A2212FA9F}" destId="{3000385D-5F54-4AE2-AF8E-8AE5D12033A9}" srcOrd="1" destOrd="0" presId="urn:microsoft.com/office/officeart/2005/8/layout/pyramid3"/>
    <dgm:cxn modelId="{7B67111C-8473-42F0-848B-E51EBEBA7C83}" type="presOf" srcId="{32B9FD7C-C768-4E31-BF70-9192DA2B9948}" destId="{2D1A0997-DF2D-4F97-A2B4-7A836062373A}" srcOrd="1" destOrd="0" presId="urn:microsoft.com/office/officeart/2005/8/layout/pyramid3"/>
    <dgm:cxn modelId="{25537103-8215-4036-9E86-97031F10C375}" srcId="{B0E41DF0-AE8D-4504-A30E-A48839CF75A7}" destId="{D7E59A02-32DF-4627-A5CD-7D1D5D453FB5}" srcOrd="1" destOrd="0" parTransId="{5B21C0EE-07B5-437A-BEA8-8D8888F323A5}" sibTransId="{A1B0CB38-450E-45DC-BB2E-546489715910}"/>
    <dgm:cxn modelId="{0345312E-785C-4724-A81B-151A0047AE04}" type="presOf" srcId="{D7E59A02-32DF-4627-A5CD-7D1D5D453FB5}" destId="{754AB955-7DF0-42F3-9B37-972187CAC778}" srcOrd="0" destOrd="0" presId="urn:microsoft.com/office/officeart/2005/8/layout/pyramid3"/>
    <dgm:cxn modelId="{CF7B3FAA-BB73-4FAA-AD6E-85D5C5A52FB4}" type="presOf" srcId="{D7E59A02-32DF-4627-A5CD-7D1D5D453FB5}" destId="{39200314-7D34-456C-922F-7DED9AF33BA9}" srcOrd="1" destOrd="0" presId="urn:microsoft.com/office/officeart/2005/8/layout/pyramid3"/>
    <dgm:cxn modelId="{DF17DD9B-5D93-42B1-BC3C-085E9B9206E7}" srcId="{B0E41DF0-AE8D-4504-A30E-A48839CF75A7}" destId="{EEC1E592-0313-40D4-B6F7-872C17CC7D56}" srcOrd="2" destOrd="0" parTransId="{66EB967F-8B22-4265-A429-92FBA7B99013}" sibTransId="{76A006A9-0706-4C91-AA1F-E335B5C4A181}"/>
    <dgm:cxn modelId="{5D758DD1-606B-4AAD-9659-A74CBB6BD81C}" type="presOf" srcId="{32B9FD7C-C768-4E31-BF70-9192DA2B9948}" destId="{66D6AF70-7CAB-4519-94A2-049EC26C230D}" srcOrd="0" destOrd="0" presId="urn:microsoft.com/office/officeart/2005/8/layout/pyramid3"/>
    <dgm:cxn modelId="{7A3A24AF-9DFA-4BC3-A6FA-3274D96DF317}" type="presOf" srcId="{B0E41DF0-AE8D-4504-A30E-A48839CF75A7}" destId="{4E062078-449A-43EB-8B68-97277E3004CA}" srcOrd="0" destOrd="0" presId="urn:microsoft.com/office/officeart/2005/8/layout/pyramid3"/>
    <dgm:cxn modelId="{3CDDD912-D96F-4372-BE7A-CF49017B058D}" type="presParOf" srcId="{4E062078-449A-43EB-8B68-97277E3004CA}" destId="{CCAE8283-7667-4CE9-B4AF-01AA14D24055}" srcOrd="0" destOrd="0" presId="urn:microsoft.com/office/officeart/2005/8/layout/pyramid3"/>
    <dgm:cxn modelId="{115DE977-FC6E-41EC-86B2-31AF74D8835A}" type="presParOf" srcId="{CCAE8283-7667-4CE9-B4AF-01AA14D24055}" destId="{02252614-EB35-44EF-A98D-6CCD770BA1D3}" srcOrd="0" destOrd="0" presId="urn:microsoft.com/office/officeart/2005/8/layout/pyramid3"/>
    <dgm:cxn modelId="{861AB77C-8D9E-4F4B-BCFA-C5577EB1A456}" type="presParOf" srcId="{CCAE8283-7667-4CE9-B4AF-01AA14D24055}" destId="{3000385D-5F54-4AE2-AF8E-8AE5D12033A9}" srcOrd="1" destOrd="0" presId="urn:microsoft.com/office/officeart/2005/8/layout/pyramid3"/>
    <dgm:cxn modelId="{1C67511B-7799-4CEF-A8FC-3E1479A8BB51}" type="presParOf" srcId="{4E062078-449A-43EB-8B68-97277E3004CA}" destId="{31D37F09-8228-4F4D-A058-EDCEBD89A77A}" srcOrd="1" destOrd="0" presId="urn:microsoft.com/office/officeart/2005/8/layout/pyramid3"/>
    <dgm:cxn modelId="{90281BB3-04C5-44E2-A33C-8DFCE40A6981}" type="presParOf" srcId="{31D37F09-8228-4F4D-A058-EDCEBD89A77A}" destId="{754AB955-7DF0-42F3-9B37-972187CAC778}" srcOrd="0" destOrd="0" presId="urn:microsoft.com/office/officeart/2005/8/layout/pyramid3"/>
    <dgm:cxn modelId="{9C0E11FA-4889-40AD-884A-0361A2E09EDC}" type="presParOf" srcId="{31D37F09-8228-4F4D-A058-EDCEBD89A77A}" destId="{39200314-7D34-456C-922F-7DED9AF33BA9}" srcOrd="1" destOrd="0" presId="urn:microsoft.com/office/officeart/2005/8/layout/pyramid3"/>
    <dgm:cxn modelId="{A051DB3F-8C56-46E2-8309-81BF97D4BDDA}" type="presParOf" srcId="{4E062078-449A-43EB-8B68-97277E3004CA}" destId="{AC3C7791-E78C-4B24-B0D9-D487E42C7182}" srcOrd="2" destOrd="0" presId="urn:microsoft.com/office/officeart/2005/8/layout/pyramid3"/>
    <dgm:cxn modelId="{66C10B72-D171-457A-B271-1EBEF2837E62}" type="presParOf" srcId="{AC3C7791-E78C-4B24-B0D9-D487E42C7182}" destId="{B382BBB5-A9C8-4861-B25A-56D81D873F79}" srcOrd="0" destOrd="0" presId="urn:microsoft.com/office/officeart/2005/8/layout/pyramid3"/>
    <dgm:cxn modelId="{34686BA0-2BC1-4433-A627-75FDA0AA83EA}" type="presParOf" srcId="{AC3C7791-E78C-4B24-B0D9-D487E42C7182}" destId="{DCB603BA-754F-4CCD-B91F-578A77E11E55}" srcOrd="1" destOrd="0" presId="urn:microsoft.com/office/officeart/2005/8/layout/pyramid3"/>
    <dgm:cxn modelId="{9D0FA6D8-CEF4-4065-9868-E1D1F9AF40ED}" type="presParOf" srcId="{4E062078-449A-43EB-8B68-97277E3004CA}" destId="{4CE7B3B6-743A-4682-92F7-7B5D7E3C060C}" srcOrd="3" destOrd="0" presId="urn:microsoft.com/office/officeart/2005/8/layout/pyramid3"/>
    <dgm:cxn modelId="{A2D2D01F-44F1-4CDB-9B2D-F3E2913FA2F2}" type="presParOf" srcId="{4CE7B3B6-743A-4682-92F7-7B5D7E3C060C}" destId="{66D6AF70-7CAB-4519-94A2-049EC26C230D}" srcOrd="0" destOrd="0" presId="urn:microsoft.com/office/officeart/2005/8/layout/pyramid3"/>
    <dgm:cxn modelId="{EA11651E-6A56-4F9F-AB2F-93FE30BE89A8}" type="presParOf" srcId="{4CE7B3B6-743A-4682-92F7-7B5D7E3C060C}" destId="{2D1A0997-DF2D-4F97-A2B4-7A836062373A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1F057C-73AE-47F1-919B-1469C75D40E8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1396D5-87ED-4A6F-907C-A9A6E09978C3}">
      <dgm:prSet phldrT="[Text]" custT="1"/>
      <dgm:spPr/>
      <dgm:t>
        <a:bodyPr/>
        <a:lstStyle/>
        <a:p>
          <a:r>
            <a:rPr lang="en-MY" sz="7200" smtClean="0"/>
            <a:t>Rationale</a:t>
          </a:r>
          <a:endParaRPr lang="en-US" sz="7200"/>
        </a:p>
      </dgm:t>
    </dgm:pt>
    <dgm:pt modelId="{B85300BF-59DB-40B5-B89B-7A3D1A883252}" type="parTrans" cxnId="{10559C31-DE0F-4707-A8EE-00D24500E482}">
      <dgm:prSet/>
      <dgm:spPr/>
      <dgm:t>
        <a:bodyPr/>
        <a:lstStyle/>
        <a:p>
          <a:endParaRPr lang="en-US"/>
        </a:p>
      </dgm:t>
    </dgm:pt>
    <dgm:pt modelId="{8D5C2864-0C60-4F00-9BE7-4F7185743B61}" type="sibTrans" cxnId="{10559C31-DE0F-4707-A8EE-00D24500E482}">
      <dgm:prSet/>
      <dgm:spPr/>
      <dgm:t>
        <a:bodyPr/>
        <a:lstStyle/>
        <a:p>
          <a:endParaRPr lang="en-US"/>
        </a:p>
      </dgm:t>
    </dgm:pt>
    <dgm:pt modelId="{05E99E4D-C099-40C8-BE12-2F67CA8E5363}">
      <dgm:prSet phldrT="[Text]" custT="1"/>
      <dgm:spPr/>
      <dgm:t>
        <a:bodyPr/>
        <a:lstStyle/>
        <a:p>
          <a:r>
            <a:rPr lang="en-US" sz="3200" smtClean="0"/>
            <a:t>…developed and used as benchmarking documents</a:t>
          </a:r>
          <a:endParaRPr lang="en-US" sz="3200"/>
        </a:p>
      </dgm:t>
    </dgm:pt>
    <dgm:pt modelId="{216D3BF6-7033-4C5D-A7F3-814C6C4AC958}" type="parTrans" cxnId="{769723EE-3287-4B90-A0F8-5047F068E1B3}">
      <dgm:prSet/>
      <dgm:spPr/>
      <dgm:t>
        <a:bodyPr/>
        <a:lstStyle/>
        <a:p>
          <a:endParaRPr lang="en-US"/>
        </a:p>
      </dgm:t>
    </dgm:pt>
    <dgm:pt modelId="{3DD6F2E3-95B1-45DB-93D9-5CAEB7447B0A}" type="sibTrans" cxnId="{769723EE-3287-4B90-A0F8-5047F068E1B3}">
      <dgm:prSet/>
      <dgm:spPr/>
      <dgm:t>
        <a:bodyPr/>
        <a:lstStyle/>
        <a:p>
          <a:endParaRPr lang="en-US"/>
        </a:p>
      </dgm:t>
    </dgm:pt>
    <dgm:pt modelId="{82D5C707-5223-4CE3-BFAD-3D49F20CBD78}">
      <dgm:prSet phldrT="[Text]" custT="1"/>
      <dgm:spPr/>
      <dgm:t>
        <a:bodyPr/>
        <a:lstStyle/>
        <a:p>
          <a:r>
            <a:rPr lang="en-US" sz="3200" smtClean="0"/>
            <a:t>…must be careful so that the SEA-BES document is not becoming the definite agreement</a:t>
          </a:r>
          <a:endParaRPr lang="en-US" sz="3200"/>
        </a:p>
      </dgm:t>
    </dgm:pt>
    <dgm:pt modelId="{164CC674-95A6-431C-9989-BD85FFDA0DEC}" type="parTrans" cxnId="{55CC534C-FE46-4B5C-A375-28C10CA6572E}">
      <dgm:prSet/>
      <dgm:spPr/>
      <dgm:t>
        <a:bodyPr/>
        <a:lstStyle/>
        <a:p>
          <a:endParaRPr lang="en-US"/>
        </a:p>
      </dgm:t>
    </dgm:pt>
    <dgm:pt modelId="{62C10190-E371-48DF-B5C4-0CC08005D1DE}" type="sibTrans" cxnId="{55CC534C-FE46-4B5C-A375-28C10CA6572E}">
      <dgm:prSet/>
      <dgm:spPr/>
      <dgm:t>
        <a:bodyPr/>
        <a:lstStyle/>
        <a:p>
          <a:endParaRPr lang="en-US"/>
        </a:p>
      </dgm:t>
    </dgm:pt>
    <dgm:pt modelId="{EC1C96D3-D0FD-41B4-9E31-50436F754444}">
      <dgm:prSet phldrT="[Text]" custT="1"/>
      <dgm:spPr/>
      <dgm:t>
        <a:bodyPr/>
        <a:lstStyle/>
        <a:p>
          <a:r>
            <a:rPr lang="en-US" sz="3200" smtClean="0"/>
            <a:t>…must be comply with the traditional values in SEA countries </a:t>
          </a:r>
          <a:endParaRPr lang="en-US" sz="3200"/>
        </a:p>
      </dgm:t>
    </dgm:pt>
    <dgm:pt modelId="{B582E360-1F96-426F-91DC-48B1ACF87A74}" type="parTrans" cxnId="{819D5C8D-FF17-4889-B581-B7BA1CAACC99}">
      <dgm:prSet/>
      <dgm:spPr/>
      <dgm:t>
        <a:bodyPr/>
        <a:lstStyle/>
        <a:p>
          <a:endParaRPr lang="en-US"/>
        </a:p>
      </dgm:t>
    </dgm:pt>
    <dgm:pt modelId="{C08DAA36-0B41-49EA-B506-D8BC955767E2}" type="sibTrans" cxnId="{819D5C8D-FF17-4889-B581-B7BA1CAACC99}">
      <dgm:prSet/>
      <dgm:spPr/>
      <dgm:t>
        <a:bodyPr/>
        <a:lstStyle/>
        <a:p>
          <a:endParaRPr lang="en-US"/>
        </a:p>
      </dgm:t>
    </dgm:pt>
    <dgm:pt modelId="{283C988A-6225-4A96-A388-933B2E872292}" type="pres">
      <dgm:prSet presAssocID="{391F057C-73AE-47F1-919B-1469C75D40E8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53A4C8E-FEEB-4E60-B603-D4D1104065D8}" type="pres">
      <dgm:prSet presAssocID="{4B1396D5-87ED-4A6F-907C-A9A6E09978C3}" presName="root" presStyleCnt="0">
        <dgm:presLayoutVars>
          <dgm:chMax/>
          <dgm:chPref val="4"/>
        </dgm:presLayoutVars>
      </dgm:prSet>
      <dgm:spPr/>
    </dgm:pt>
    <dgm:pt modelId="{CBC42E0D-1EAA-43ED-A86C-6A69A5296239}" type="pres">
      <dgm:prSet presAssocID="{4B1396D5-87ED-4A6F-907C-A9A6E09978C3}" presName="rootComposite" presStyleCnt="0">
        <dgm:presLayoutVars/>
      </dgm:prSet>
      <dgm:spPr/>
    </dgm:pt>
    <dgm:pt modelId="{F723709C-46FE-4F81-8241-F6C46F5121DB}" type="pres">
      <dgm:prSet presAssocID="{4B1396D5-87ED-4A6F-907C-A9A6E09978C3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0D45BE37-ED62-4AC2-801B-8D96CCA1B910}" type="pres">
      <dgm:prSet presAssocID="{4B1396D5-87ED-4A6F-907C-A9A6E09978C3}" presName="childShape" presStyleCnt="0">
        <dgm:presLayoutVars>
          <dgm:chMax val="0"/>
          <dgm:chPref val="0"/>
        </dgm:presLayoutVars>
      </dgm:prSet>
      <dgm:spPr/>
    </dgm:pt>
    <dgm:pt modelId="{7538CD3B-819D-499D-831D-F461A6697F03}" type="pres">
      <dgm:prSet presAssocID="{05E99E4D-C099-40C8-BE12-2F67CA8E5363}" presName="childComposite" presStyleCnt="0">
        <dgm:presLayoutVars>
          <dgm:chMax val="0"/>
          <dgm:chPref val="0"/>
        </dgm:presLayoutVars>
      </dgm:prSet>
      <dgm:spPr/>
    </dgm:pt>
    <dgm:pt modelId="{CD6A43A5-A37B-41F3-AFB6-212F8E0E3F3A}" type="pres">
      <dgm:prSet presAssocID="{05E99E4D-C099-40C8-BE12-2F67CA8E5363}" presName="Image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</dgm:spPr>
    </dgm:pt>
    <dgm:pt modelId="{265BA5E1-896C-43A9-9866-07CD6D55B025}" type="pres">
      <dgm:prSet presAssocID="{05E99E4D-C099-40C8-BE12-2F67CA8E5363}" presName="childText" presStyleLbl="l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F3B9E2-978A-44CD-BD4E-E41E83D3895F}" type="pres">
      <dgm:prSet presAssocID="{82D5C707-5223-4CE3-BFAD-3D49F20CBD78}" presName="childComposite" presStyleCnt="0">
        <dgm:presLayoutVars>
          <dgm:chMax val="0"/>
          <dgm:chPref val="0"/>
        </dgm:presLayoutVars>
      </dgm:prSet>
      <dgm:spPr/>
    </dgm:pt>
    <dgm:pt modelId="{597F94B1-5A33-4942-949D-16E053BEBEBF}" type="pres">
      <dgm:prSet presAssocID="{82D5C707-5223-4CE3-BFAD-3D49F20CBD78}" presName="Image" presStyleLbl="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383FE84-5454-420F-844C-1959F57F8ADC}" type="pres">
      <dgm:prSet presAssocID="{82D5C707-5223-4CE3-BFAD-3D49F20CBD78}" presName="childText" presStyleLbl="l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626C92-F6CF-476E-A075-7E6792FE4870}" type="pres">
      <dgm:prSet presAssocID="{EC1C96D3-D0FD-41B4-9E31-50436F754444}" presName="childComposite" presStyleCnt="0">
        <dgm:presLayoutVars>
          <dgm:chMax val="0"/>
          <dgm:chPref val="0"/>
        </dgm:presLayoutVars>
      </dgm:prSet>
      <dgm:spPr/>
    </dgm:pt>
    <dgm:pt modelId="{4FCE5C01-71CC-42D5-B5B7-6B5254286943}" type="pres">
      <dgm:prSet presAssocID="{EC1C96D3-D0FD-41B4-9E31-50436F754444}" presName="Image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A5A89447-821C-4AD0-B984-897612CBB163}" type="pres">
      <dgm:prSet presAssocID="{EC1C96D3-D0FD-41B4-9E31-50436F754444}" presName="childText" presStyleLbl="l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0559C31-DE0F-4707-A8EE-00D24500E482}" srcId="{391F057C-73AE-47F1-919B-1469C75D40E8}" destId="{4B1396D5-87ED-4A6F-907C-A9A6E09978C3}" srcOrd="0" destOrd="0" parTransId="{B85300BF-59DB-40B5-B89B-7A3D1A883252}" sibTransId="{8D5C2864-0C60-4F00-9BE7-4F7185743B61}"/>
    <dgm:cxn modelId="{819D5C8D-FF17-4889-B581-B7BA1CAACC99}" srcId="{4B1396D5-87ED-4A6F-907C-A9A6E09978C3}" destId="{EC1C96D3-D0FD-41B4-9E31-50436F754444}" srcOrd="2" destOrd="0" parTransId="{B582E360-1F96-426F-91DC-48B1ACF87A74}" sibTransId="{C08DAA36-0B41-49EA-B506-D8BC955767E2}"/>
    <dgm:cxn modelId="{86FDF813-7CEA-4C52-A389-768C0315190D}" type="presOf" srcId="{4B1396D5-87ED-4A6F-907C-A9A6E09978C3}" destId="{F723709C-46FE-4F81-8241-F6C46F5121DB}" srcOrd="0" destOrd="0" presId="urn:microsoft.com/office/officeart/2008/layout/PictureAccentList"/>
    <dgm:cxn modelId="{74BE1D18-7E41-40A0-AB58-1440C16C755F}" type="presOf" srcId="{82D5C707-5223-4CE3-BFAD-3D49F20CBD78}" destId="{C383FE84-5454-420F-844C-1959F57F8ADC}" srcOrd="0" destOrd="0" presId="urn:microsoft.com/office/officeart/2008/layout/PictureAccentList"/>
    <dgm:cxn modelId="{769723EE-3287-4B90-A0F8-5047F068E1B3}" srcId="{4B1396D5-87ED-4A6F-907C-A9A6E09978C3}" destId="{05E99E4D-C099-40C8-BE12-2F67CA8E5363}" srcOrd="0" destOrd="0" parTransId="{216D3BF6-7033-4C5D-A7F3-814C6C4AC958}" sibTransId="{3DD6F2E3-95B1-45DB-93D9-5CAEB7447B0A}"/>
    <dgm:cxn modelId="{956960E8-82C5-447E-ABFD-AB37B8A182C1}" type="presOf" srcId="{EC1C96D3-D0FD-41B4-9E31-50436F754444}" destId="{A5A89447-821C-4AD0-B984-897612CBB163}" srcOrd="0" destOrd="0" presId="urn:microsoft.com/office/officeart/2008/layout/PictureAccentList"/>
    <dgm:cxn modelId="{55CC534C-FE46-4B5C-A375-28C10CA6572E}" srcId="{4B1396D5-87ED-4A6F-907C-A9A6E09978C3}" destId="{82D5C707-5223-4CE3-BFAD-3D49F20CBD78}" srcOrd="1" destOrd="0" parTransId="{164CC674-95A6-431C-9989-BD85FFDA0DEC}" sibTransId="{62C10190-E371-48DF-B5C4-0CC08005D1DE}"/>
    <dgm:cxn modelId="{4258778F-C15A-4B2C-B44C-11589C62B145}" type="presOf" srcId="{391F057C-73AE-47F1-919B-1469C75D40E8}" destId="{283C988A-6225-4A96-A388-933B2E872292}" srcOrd="0" destOrd="0" presId="urn:microsoft.com/office/officeart/2008/layout/PictureAccentList"/>
    <dgm:cxn modelId="{51A582B3-776C-49C7-A761-EF05DE2967DF}" type="presOf" srcId="{05E99E4D-C099-40C8-BE12-2F67CA8E5363}" destId="{265BA5E1-896C-43A9-9866-07CD6D55B025}" srcOrd="0" destOrd="0" presId="urn:microsoft.com/office/officeart/2008/layout/PictureAccentList"/>
    <dgm:cxn modelId="{C2BFDB20-097F-4B53-8D06-C3FDBF84B005}" type="presParOf" srcId="{283C988A-6225-4A96-A388-933B2E872292}" destId="{453A4C8E-FEEB-4E60-B603-D4D1104065D8}" srcOrd="0" destOrd="0" presId="urn:microsoft.com/office/officeart/2008/layout/PictureAccentList"/>
    <dgm:cxn modelId="{BA610077-9E45-4EE8-B887-D5391E261BA1}" type="presParOf" srcId="{453A4C8E-FEEB-4E60-B603-D4D1104065D8}" destId="{CBC42E0D-1EAA-43ED-A86C-6A69A5296239}" srcOrd="0" destOrd="0" presId="urn:microsoft.com/office/officeart/2008/layout/PictureAccentList"/>
    <dgm:cxn modelId="{9AC38885-B865-4BFC-A9C9-F668FDACA98C}" type="presParOf" srcId="{CBC42E0D-1EAA-43ED-A86C-6A69A5296239}" destId="{F723709C-46FE-4F81-8241-F6C46F5121DB}" srcOrd="0" destOrd="0" presId="urn:microsoft.com/office/officeart/2008/layout/PictureAccentList"/>
    <dgm:cxn modelId="{AE2EA7CE-9723-48E6-8E4C-799632594947}" type="presParOf" srcId="{453A4C8E-FEEB-4E60-B603-D4D1104065D8}" destId="{0D45BE37-ED62-4AC2-801B-8D96CCA1B910}" srcOrd="1" destOrd="0" presId="urn:microsoft.com/office/officeart/2008/layout/PictureAccentList"/>
    <dgm:cxn modelId="{2089F7CB-1C56-4D41-9A13-D2C3F4421FED}" type="presParOf" srcId="{0D45BE37-ED62-4AC2-801B-8D96CCA1B910}" destId="{7538CD3B-819D-499D-831D-F461A6697F03}" srcOrd="0" destOrd="0" presId="urn:microsoft.com/office/officeart/2008/layout/PictureAccentList"/>
    <dgm:cxn modelId="{B1761127-8425-4EDC-BFAA-367667D143E3}" type="presParOf" srcId="{7538CD3B-819D-499D-831D-F461A6697F03}" destId="{CD6A43A5-A37B-41F3-AFB6-212F8E0E3F3A}" srcOrd="0" destOrd="0" presId="urn:microsoft.com/office/officeart/2008/layout/PictureAccentList"/>
    <dgm:cxn modelId="{DC69AF75-871A-484B-9811-AC88D3F9C4C3}" type="presParOf" srcId="{7538CD3B-819D-499D-831D-F461A6697F03}" destId="{265BA5E1-896C-43A9-9866-07CD6D55B025}" srcOrd="1" destOrd="0" presId="urn:microsoft.com/office/officeart/2008/layout/PictureAccentList"/>
    <dgm:cxn modelId="{1B44A94A-648C-48CC-A2FD-C51509D59F2D}" type="presParOf" srcId="{0D45BE37-ED62-4AC2-801B-8D96CCA1B910}" destId="{66F3B9E2-978A-44CD-BD4E-E41E83D3895F}" srcOrd="1" destOrd="0" presId="urn:microsoft.com/office/officeart/2008/layout/PictureAccentList"/>
    <dgm:cxn modelId="{30193F0C-4FE6-40FB-ABCA-DFD43C218E72}" type="presParOf" srcId="{66F3B9E2-978A-44CD-BD4E-E41E83D3895F}" destId="{597F94B1-5A33-4942-949D-16E053BEBEBF}" srcOrd="0" destOrd="0" presId="urn:microsoft.com/office/officeart/2008/layout/PictureAccentList"/>
    <dgm:cxn modelId="{150BF1E1-92FF-4195-8919-34C93BBFF4A4}" type="presParOf" srcId="{66F3B9E2-978A-44CD-BD4E-E41E83D3895F}" destId="{C383FE84-5454-420F-844C-1959F57F8ADC}" srcOrd="1" destOrd="0" presId="urn:microsoft.com/office/officeart/2008/layout/PictureAccentList"/>
    <dgm:cxn modelId="{5B61F6D5-C23F-450E-92EF-7279555B98C8}" type="presParOf" srcId="{0D45BE37-ED62-4AC2-801B-8D96CCA1B910}" destId="{90626C92-F6CF-476E-A075-7E6792FE4870}" srcOrd="2" destOrd="0" presId="urn:microsoft.com/office/officeart/2008/layout/PictureAccentList"/>
    <dgm:cxn modelId="{0A7B62FB-7C5F-45BB-85DD-8F1D67F074A7}" type="presParOf" srcId="{90626C92-F6CF-476E-A075-7E6792FE4870}" destId="{4FCE5C01-71CC-42D5-B5B7-6B5254286943}" srcOrd="0" destOrd="0" presId="urn:microsoft.com/office/officeart/2008/layout/PictureAccentList"/>
    <dgm:cxn modelId="{D5C9E096-DFDD-4091-B6B1-81E271ACB397}" type="presParOf" srcId="{90626C92-F6CF-476E-A075-7E6792FE4870}" destId="{A5A89447-821C-4AD0-B984-897612CBB163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91F057C-73AE-47F1-919B-1469C75D40E8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1396D5-87ED-4A6F-907C-A9A6E09978C3}">
      <dgm:prSet phldrT="[Text]" custT="1"/>
      <dgm:spPr>
        <a:solidFill>
          <a:srgbClr val="002060"/>
        </a:solidFill>
      </dgm:spPr>
      <dgm:t>
        <a:bodyPr/>
        <a:lstStyle/>
        <a:p>
          <a:r>
            <a:rPr lang="en-MY" sz="6600" smtClean="0"/>
            <a:t>Content &amp; Format</a:t>
          </a:r>
          <a:endParaRPr lang="en-US" sz="6600"/>
        </a:p>
      </dgm:t>
    </dgm:pt>
    <dgm:pt modelId="{B85300BF-59DB-40B5-B89B-7A3D1A883252}" type="parTrans" cxnId="{10559C31-DE0F-4707-A8EE-00D24500E482}">
      <dgm:prSet/>
      <dgm:spPr/>
      <dgm:t>
        <a:bodyPr/>
        <a:lstStyle/>
        <a:p>
          <a:endParaRPr lang="en-US"/>
        </a:p>
      </dgm:t>
    </dgm:pt>
    <dgm:pt modelId="{8D5C2864-0C60-4F00-9BE7-4F7185743B61}" type="sibTrans" cxnId="{10559C31-DE0F-4707-A8EE-00D24500E482}">
      <dgm:prSet/>
      <dgm:spPr/>
      <dgm:t>
        <a:bodyPr/>
        <a:lstStyle/>
        <a:p>
          <a:endParaRPr lang="en-US"/>
        </a:p>
      </dgm:t>
    </dgm:pt>
    <dgm:pt modelId="{05E99E4D-C099-40C8-BE12-2F67CA8E5363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3200" smtClean="0"/>
            <a:t>…don’t have to be very particular</a:t>
          </a:r>
          <a:endParaRPr lang="en-US" sz="3200"/>
        </a:p>
      </dgm:t>
    </dgm:pt>
    <dgm:pt modelId="{216D3BF6-7033-4C5D-A7F3-814C6C4AC958}" type="parTrans" cxnId="{769723EE-3287-4B90-A0F8-5047F068E1B3}">
      <dgm:prSet/>
      <dgm:spPr/>
      <dgm:t>
        <a:bodyPr/>
        <a:lstStyle/>
        <a:p>
          <a:endParaRPr lang="en-US"/>
        </a:p>
      </dgm:t>
    </dgm:pt>
    <dgm:pt modelId="{3DD6F2E3-95B1-45DB-93D9-5CAEB7447B0A}" type="sibTrans" cxnId="{769723EE-3287-4B90-A0F8-5047F068E1B3}">
      <dgm:prSet/>
      <dgm:spPr/>
      <dgm:t>
        <a:bodyPr/>
        <a:lstStyle/>
        <a:p>
          <a:endParaRPr lang="en-US"/>
        </a:p>
      </dgm:t>
    </dgm:pt>
    <dgm:pt modelId="{6A136823-BD3D-45D6-82AC-50CFA3690F93}">
      <dgm:prSet phldrT="[Text]" custT="1"/>
      <dgm:spPr>
        <a:solidFill>
          <a:srgbClr val="002060"/>
        </a:solidFill>
      </dgm:spPr>
      <dgm:t>
        <a:bodyPr/>
        <a:lstStyle/>
        <a:p>
          <a:r>
            <a:rPr lang="en-US" sz="2800" smtClean="0"/>
            <a:t>… but should states the Content Standards and Learning Standards for every levels of schooling, in every learning areas</a:t>
          </a:r>
          <a:endParaRPr lang="en-US" sz="2800"/>
        </a:p>
      </dgm:t>
    </dgm:pt>
    <dgm:pt modelId="{E60D30AD-FB38-432F-AE62-967EDA265401}" type="parTrans" cxnId="{BF2D03A3-6EA9-4B5E-A111-0CC84EEC46BA}">
      <dgm:prSet/>
      <dgm:spPr/>
      <dgm:t>
        <a:bodyPr/>
        <a:lstStyle/>
        <a:p>
          <a:endParaRPr lang="en-US"/>
        </a:p>
      </dgm:t>
    </dgm:pt>
    <dgm:pt modelId="{AE984815-E83B-43E4-AC43-8B2D1B6E2C85}" type="sibTrans" cxnId="{BF2D03A3-6EA9-4B5E-A111-0CC84EEC46BA}">
      <dgm:prSet/>
      <dgm:spPr/>
      <dgm:t>
        <a:bodyPr/>
        <a:lstStyle/>
        <a:p>
          <a:endParaRPr lang="en-US"/>
        </a:p>
      </dgm:t>
    </dgm:pt>
    <dgm:pt modelId="{34FA7EC1-7C34-4A1C-B46D-3EFD9A041AFA}">
      <dgm:prSet phldrT="[Text]" custT="1"/>
      <dgm:spPr>
        <a:solidFill>
          <a:srgbClr val="002060"/>
        </a:solidFill>
      </dgm:spPr>
      <dgm:t>
        <a:bodyPr/>
        <a:lstStyle/>
        <a:p>
          <a:r>
            <a:rPr lang="en-MY" sz="3200" smtClean="0"/>
            <a:t>…</a:t>
          </a:r>
          <a:r>
            <a:rPr lang="en-US" sz="3200" smtClean="0"/>
            <a:t>for the curriculum developers or the policy makers</a:t>
          </a:r>
          <a:endParaRPr lang="en-US" sz="3200"/>
        </a:p>
      </dgm:t>
    </dgm:pt>
    <dgm:pt modelId="{249B1E3A-2A3B-4CFB-97EF-8C2B4DD8746B}" type="parTrans" cxnId="{5E3E06CE-8658-4284-A4CB-1E25D170F047}">
      <dgm:prSet/>
      <dgm:spPr/>
      <dgm:t>
        <a:bodyPr/>
        <a:lstStyle/>
        <a:p>
          <a:endParaRPr lang="en-US"/>
        </a:p>
      </dgm:t>
    </dgm:pt>
    <dgm:pt modelId="{425532AD-F2C1-4D13-A0E2-F0CD4FED1A5B}" type="sibTrans" cxnId="{5E3E06CE-8658-4284-A4CB-1E25D170F047}">
      <dgm:prSet/>
      <dgm:spPr/>
      <dgm:t>
        <a:bodyPr/>
        <a:lstStyle/>
        <a:p>
          <a:endParaRPr lang="en-US"/>
        </a:p>
      </dgm:t>
    </dgm:pt>
    <dgm:pt modelId="{29AC4C9E-2A12-445D-8BB9-664B75C5C413}">
      <dgm:prSet phldrT="[Text]" custT="1"/>
      <dgm:spPr>
        <a:solidFill>
          <a:srgbClr val="002060"/>
        </a:solidFill>
      </dgm:spPr>
      <dgm:t>
        <a:bodyPr/>
        <a:lstStyle/>
        <a:p>
          <a:r>
            <a:rPr lang="en-MY" sz="3200" smtClean="0"/>
            <a:t>…can use NCTM or CCSS (US) as models</a:t>
          </a:r>
          <a:endParaRPr lang="en-US" sz="3200"/>
        </a:p>
      </dgm:t>
    </dgm:pt>
    <dgm:pt modelId="{11343DCA-2164-4968-B09C-349D3A0791C1}" type="parTrans" cxnId="{1F41BCA8-D7FD-4053-92F6-D31DC51F0E42}">
      <dgm:prSet/>
      <dgm:spPr/>
      <dgm:t>
        <a:bodyPr/>
        <a:lstStyle/>
        <a:p>
          <a:endParaRPr lang="en-US"/>
        </a:p>
      </dgm:t>
    </dgm:pt>
    <dgm:pt modelId="{24F394B9-21FA-4A11-9439-786FD88BF577}" type="sibTrans" cxnId="{1F41BCA8-D7FD-4053-92F6-D31DC51F0E42}">
      <dgm:prSet/>
      <dgm:spPr/>
      <dgm:t>
        <a:bodyPr/>
        <a:lstStyle/>
        <a:p>
          <a:endParaRPr lang="en-US"/>
        </a:p>
      </dgm:t>
    </dgm:pt>
    <dgm:pt modelId="{283C988A-6225-4A96-A388-933B2E872292}" type="pres">
      <dgm:prSet presAssocID="{391F057C-73AE-47F1-919B-1469C75D40E8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53A4C8E-FEEB-4E60-B603-D4D1104065D8}" type="pres">
      <dgm:prSet presAssocID="{4B1396D5-87ED-4A6F-907C-A9A6E09978C3}" presName="root" presStyleCnt="0">
        <dgm:presLayoutVars>
          <dgm:chMax/>
          <dgm:chPref val="4"/>
        </dgm:presLayoutVars>
      </dgm:prSet>
      <dgm:spPr/>
    </dgm:pt>
    <dgm:pt modelId="{CBC42E0D-1EAA-43ED-A86C-6A69A5296239}" type="pres">
      <dgm:prSet presAssocID="{4B1396D5-87ED-4A6F-907C-A9A6E09978C3}" presName="rootComposite" presStyleCnt="0">
        <dgm:presLayoutVars/>
      </dgm:prSet>
      <dgm:spPr/>
    </dgm:pt>
    <dgm:pt modelId="{F723709C-46FE-4F81-8241-F6C46F5121DB}" type="pres">
      <dgm:prSet presAssocID="{4B1396D5-87ED-4A6F-907C-A9A6E09978C3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0D45BE37-ED62-4AC2-801B-8D96CCA1B910}" type="pres">
      <dgm:prSet presAssocID="{4B1396D5-87ED-4A6F-907C-A9A6E09978C3}" presName="childShape" presStyleCnt="0">
        <dgm:presLayoutVars>
          <dgm:chMax val="0"/>
          <dgm:chPref val="0"/>
        </dgm:presLayoutVars>
      </dgm:prSet>
      <dgm:spPr/>
    </dgm:pt>
    <dgm:pt modelId="{7538CD3B-819D-499D-831D-F461A6697F03}" type="pres">
      <dgm:prSet presAssocID="{05E99E4D-C099-40C8-BE12-2F67CA8E5363}" presName="childComposite" presStyleCnt="0">
        <dgm:presLayoutVars>
          <dgm:chMax val="0"/>
          <dgm:chPref val="0"/>
        </dgm:presLayoutVars>
      </dgm:prSet>
      <dgm:spPr/>
    </dgm:pt>
    <dgm:pt modelId="{CD6A43A5-A37B-41F3-AFB6-212F8E0E3F3A}" type="pres">
      <dgm:prSet presAssocID="{05E99E4D-C099-40C8-BE12-2F67CA8E5363}" presName="Image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3000" r="-43000"/>
          </a:stretch>
        </a:blipFill>
      </dgm:spPr>
    </dgm:pt>
    <dgm:pt modelId="{265BA5E1-896C-43A9-9866-07CD6D55B025}" type="pres">
      <dgm:prSet presAssocID="{05E99E4D-C099-40C8-BE12-2F67CA8E5363}" presName="childText" presStyleLbl="l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AC1F077-F9CA-41B3-89CB-2563E50D40DD}" type="pres">
      <dgm:prSet presAssocID="{6A136823-BD3D-45D6-82AC-50CFA3690F93}" presName="childComposite" presStyleCnt="0">
        <dgm:presLayoutVars>
          <dgm:chMax val="0"/>
          <dgm:chPref val="0"/>
        </dgm:presLayoutVars>
      </dgm:prSet>
      <dgm:spPr/>
    </dgm:pt>
    <dgm:pt modelId="{95D37067-992A-443F-8C30-278D5A866752}" type="pres">
      <dgm:prSet presAssocID="{6A136823-BD3D-45D6-82AC-50CFA3690F93}" presName="Image" presStyleLbl="nod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</dgm:spPr>
    </dgm:pt>
    <dgm:pt modelId="{A6B813DD-8083-478B-8EE8-186E2E352BDB}" type="pres">
      <dgm:prSet presAssocID="{6A136823-BD3D-45D6-82AC-50CFA3690F93}" presName="childText" presStyleLbl="l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9E30603-8FEE-493C-84B7-FAA78C93D3A0}" type="pres">
      <dgm:prSet presAssocID="{34FA7EC1-7C34-4A1C-B46D-3EFD9A041AFA}" presName="childComposite" presStyleCnt="0">
        <dgm:presLayoutVars>
          <dgm:chMax val="0"/>
          <dgm:chPref val="0"/>
        </dgm:presLayoutVars>
      </dgm:prSet>
      <dgm:spPr/>
    </dgm:pt>
    <dgm:pt modelId="{7DA859A8-F93D-415C-A809-6FF61F649C0B}" type="pres">
      <dgm:prSet presAssocID="{34FA7EC1-7C34-4A1C-B46D-3EFD9A041AFA}" presName="Image" presStyleLbl="nod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</dgm:spPr>
    </dgm:pt>
    <dgm:pt modelId="{0D4F8FD4-577B-4C29-BD61-6AC965365999}" type="pres">
      <dgm:prSet presAssocID="{34FA7EC1-7C34-4A1C-B46D-3EFD9A041AFA}" presName="childText" presStyleLbl="l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77C0A5F-F92B-45C6-A5DA-2F25749A681D}" type="pres">
      <dgm:prSet presAssocID="{29AC4C9E-2A12-445D-8BB9-664B75C5C413}" presName="childComposite" presStyleCnt="0">
        <dgm:presLayoutVars>
          <dgm:chMax val="0"/>
          <dgm:chPref val="0"/>
        </dgm:presLayoutVars>
      </dgm:prSet>
      <dgm:spPr/>
    </dgm:pt>
    <dgm:pt modelId="{211AB7E9-D557-4FA9-9BFC-DA47B6F40F30}" type="pres">
      <dgm:prSet presAssocID="{29AC4C9E-2A12-445D-8BB9-664B75C5C413}" presName="Image" presStyleLbl="nod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A0D0E2D5-09F3-4584-9D28-6B7190CFF288}" type="pres">
      <dgm:prSet presAssocID="{29AC4C9E-2A12-445D-8BB9-664B75C5C413}" presName="childText" presStyleLbl="l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FBB5B96-B879-4467-AF85-FFAD74042459}" type="presOf" srcId="{34FA7EC1-7C34-4A1C-B46D-3EFD9A041AFA}" destId="{0D4F8FD4-577B-4C29-BD61-6AC965365999}" srcOrd="0" destOrd="0" presId="urn:microsoft.com/office/officeart/2008/layout/PictureAccentList"/>
    <dgm:cxn modelId="{769723EE-3287-4B90-A0F8-5047F068E1B3}" srcId="{4B1396D5-87ED-4A6F-907C-A9A6E09978C3}" destId="{05E99E4D-C099-40C8-BE12-2F67CA8E5363}" srcOrd="0" destOrd="0" parTransId="{216D3BF6-7033-4C5D-A7F3-814C6C4AC958}" sibTransId="{3DD6F2E3-95B1-45DB-93D9-5CAEB7447B0A}"/>
    <dgm:cxn modelId="{BF2D03A3-6EA9-4B5E-A111-0CC84EEC46BA}" srcId="{4B1396D5-87ED-4A6F-907C-A9A6E09978C3}" destId="{6A136823-BD3D-45D6-82AC-50CFA3690F93}" srcOrd="1" destOrd="0" parTransId="{E60D30AD-FB38-432F-AE62-967EDA265401}" sibTransId="{AE984815-E83B-43E4-AC43-8B2D1B6E2C85}"/>
    <dgm:cxn modelId="{51A582B3-776C-49C7-A761-EF05DE2967DF}" type="presOf" srcId="{05E99E4D-C099-40C8-BE12-2F67CA8E5363}" destId="{265BA5E1-896C-43A9-9866-07CD6D55B025}" srcOrd="0" destOrd="0" presId="urn:microsoft.com/office/officeart/2008/layout/PictureAccentList"/>
    <dgm:cxn modelId="{D6574EA2-DC16-4BAD-8AB2-DCC483E9DC8D}" type="presOf" srcId="{6A136823-BD3D-45D6-82AC-50CFA3690F93}" destId="{A6B813DD-8083-478B-8EE8-186E2E352BDB}" srcOrd="0" destOrd="0" presId="urn:microsoft.com/office/officeart/2008/layout/PictureAccentList"/>
    <dgm:cxn modelId="{1F41BCA8-D7FD-4053-92F6-D31DC51F0E42}" srcId="{4B1396D5-87ED-4A6F-907C-A9A6E09978C3}" destId="{29AC4C9E-2A12-445D-8BB9-664B75C5C413}" srcOrd="3" destOrd="0" parTransId="{11343DCA-2164-4968-B09C-349D3A0791C1}" sibTransId="{24F394B9-21FA-4A11-9439-786FD88BF577}"/>
    <dgm:cxn modelId="{0141C29C-FF12-488B-8839-93D3ED562AE1}" type="presOf" srcId="{29AC4C9E-2A12-445D-8BB9-664B75C5C413}" destId="{A0D0E2D5-09F3-4584-9D28-6B7190CFF288}" srcOrd="0" destOrd="0" presId="urn:microsoft.com/office/officeart/2008/layout/PictureAccentList"/>
    <dgm:cxn modelId="{86FDF813-7CEA-4C52-A389-768C0315190D}" type="presOf" srcId="{4B1396D5-87ED-4A6F-907C-A9A6E09978C3}" destId="{F723709C-46FE-4F81-8241-F6C46F5121DB}" srcOrd="0" destOrd="0" presId="urn:microsoft.com/office/officeart/2008/layout/PictureAccentList"/>
    <dgm:cxn modelId="{4258778F-C15A-4B2C-B44C-11589C62B145}" type="presOf" srcId="{391F057C-73AE-47F1-919B-1469C75D40E8}" destId="{283C988A-6225-4A96-A388-933B2E872292}" srcOrd="0" destOrd="0" presId="urn:microsoft.com/office/officeart/2008/layout/PictureAccentList"/>
    <dgm:cxn modelId="{5E3E06CE-8658-4284-A4CB-1E25D170F047}" srcId="{4B1396D5-87ED-4A6F-907C-A9A6E09978C3}" destId="{34FA7EC1-7C34-4A1C-B46D-3EFD9A041AFA}" srcOrd="2" destOrd="0" parTransId="{249B1E3A-2A3B-4CFB-97EF-8C2B4DD8746B}" sibTransId="{425532AD-F2C1-4D13-A0E2-F0CD4FED1A5B}"/>
    <dgm:cxn modelId="{10559C31-DE0F-4707-A8EE-00D24500E482}" srcId="{391F057C-73AE-47F1-919B-1469C75D40E8}" destId="{4B1396D5-87ED-4A6F-907C-A9A6E09978C3}" srcOrd="0" destOrd="0" parTransId="{B85300BF-59DB-40B5-B89B-7A3D1A883252}" sibTransId="{8D5C2864-0C60-4F00-9BE7-4F7185743B61}"/>
    <dgm:cxn modelId="{C2BFDB20-097F-4B53-8D06-C3FDBF84B005}" type="presParOf" srcId="{283C988A-6225-4A96-A388-933B2E872292}" destId="{453A4C8E-FEEB-4E60-B603-D4D1104065D8}" srcOrd="0" destOrd="0" presId="urn:microsoft.com/office/officeart/2008/layout/PictureAccentList"/>
    <dgm:cxn modelId="{BA610077-9E45-4EE8-B887-D5391E261BA1}" type="presParOf" srcId="{453A4C8E-FEEB-4E60-B603-D4D1104065D8}" destId="{CBC42E0D-1EAA-43ED-A86C-6A69A5296239}" srcOrd="0" destOrd="0" presId="urn:microsoft.com/office/officeart/2008/layout/PictureAccentList"/>
    <dgm:cxn modelId="{9AC38885-B865-4BFC-A9C9-F668FDACA98C}" type="presParOf" srcId="{CBC42E0D-1EAA-43ED-A86C-6A69A5296239}" destId="{F723709C-46FE-4F81-8241-F6C46F5121DB}" srcOrd="0" destOrd="0" presId="urn:microsoft.com/office/officeart/2008/layout/PictureAccentList"/>
    <dgm:cxn modelId="{AE2EA7CE-9723-48E6-8E4C-799632594947}" type="presParOf" srcId="{453A4C8E-FEEB-4E60-B603-D4D1104065D8}" destId="{0D45BE37-ED62-4AC2-801B-8D96CCA1B910}" srcOrd="1" destOrd="0" presId="urn:microsoft.com/office/officeart/2008/layout/PictureAccentList"/>
    <dgm:cxn modelId="{2089F7CB-1C56-4D41-9A13-D2C3F4421FED}" type="presParOf" srcId="{0D45BE37-ED62-4AC2-801B-8D96CCA1B910}" destId="{7538CD3B-819D-499D-831D-F461A6697F03}" srcOrd="0" destOrd="0" presId="urn:microsoft.com/office/officeart/2008/layout/PictureAccentList"/>
    <dgm:cxn modelId="{B1761127-8425-4EDC-BFAA-367667D143E3}" type="presParOf" srcId="{7538CD3B-819D-499D-831D-F461A6697F03}" destId="{CD6A43A5-A37B-41F3-AFB6-212F8E0E3F3A}" srcOrd="0" destOrd="0" presId="urn:microsoft.com/office/officeart/2008/layout/PictureAccentList"/>
    <dgm:cxn modelId="{DC69AF75-871A-484B-9811-AC88D3F9C4C3}" type="presParOf" srcId="{7538CD3B-819D-499D-831D-F461A6697F03}" destId="{265BA5E1-896C-43A9-9866-07CD6D55B025}" srcOrd="1" destOrd="0" presId="urn:microsoft.com/office/officeart/2008/layout/PictureAccentList"/>
    <dgm:cxn modelId="{C2B5BB42-EB88-498B-BF2B-3F77206270F9}" type="presParOf" srcId="{0D45BE37-ED62-4AC2-801B-8D96CCA1B910}" destId="{2AC1F077-F9CA-41B3-89CB-2563E50D40DD}" srcOrd="1" destOrd="0" presId="urn:microsoft.com/office/officeart/2008/layout/PictureAccentList"/>
    <dgm:cxn modelId="{7C4BF33D-1407-4DBF-9D0E-27F72200848C}" type="presParOf" srcId="{2AC1F077-F9CA-41B3-89CB-2563E50D40DD}" destId="{95D37067-992A-443F-8C30-278D5A866752}" srcOrd="0" destOrd="0" presId="urn:microsoft.com/office/officeart/2008/layout/PictureAccentList"/>
    <dgm:cxn modelId="{61F7A67C-80FF-485D-9517-CD36F0456D0D}" type="presParOf" srcId="{2AC1F077-F9CA-41B3-89CB-2563E50D40DD}" destId="{A6B813DD-8083-478B-8EE8-186E2E352BDB}" srcOrd="1" destOrd="0" presId="urn:microsoft.com/office/officeart/2008/layout/PictureAccentList"/>
    <dgm:cxn modelId="{D19FD760-4DF9-4495-AAE0-0CEE2AD22440}" type="presParOf" srcId="{0D45BE37-ED62-4AC2-801B-8D96CCA1B910}" destId="{29E30603-8FEE-493C-84B7-FAA78C93D3A0}" srcOrd="2" destOrd="0" presId="urn:microsoft.com/office/officeart/2008/layout/PictureAccentList"/>
    <dgm:cxn modelId="{86617B5D-D3EC-4B12-8A37-0929D58D850B}" type="presParOf" srcId="{29E30603-8FEE-493C-84B7-FAA78C93D3A0}" destId="{7DA859A8-F93D-415C-A809-6FF61F649C0B}" srcOrd="0" destOrd="0" presId="urn:microsoft.com/office/officeart/2008/layout/PictureAccentList"/>
    <dgm:cxn modelId="{524D0AB5-269E-456C-8E76-CCF8D2D9BF49}" type="presParOf" srcId="{29E30603-8FEE-493C-84B7-FAA78C93D3A0}" destId="{0D4F8FD4-577B-4C29-BD61-6AC965365999}" srcOrd="1" destOrd="0" presId="urn:microsoft.com/office/officeart/2008/layout/PictureAccentList"/>
    <dgm:cxn modelId="{47868FDC-56A0-4C5F-9CC6-2F955F9AC725}" type="presParOf" srcId="{0D45BE37-ED62-4AC2-801B-8D96CCA1B910}" destId="{077C0A5F-F92B-45C6-A5DA-2F25749A681D}" srcOrd="3" destOrd="0" presId="urn:microsoft.com/office/officeart/2008/layout/PictureAccentList"/>
    <dgm:cxn modelId="{B114CF5A-9A6A-49A7-96A7-3F312D1A0DCA}" type="presParOf" srcId="{077C0A5F-F92B-45C6-A5DA-2F25749A681D}" destId="{211AB7E9-D557-4FA9-9BFC-DA47B6F40F30}" srcOrd="0" destOrd="0" presId="urn:microsoft.com/office/officeart/2008/layout/PictureAccentList"/>
    <dgm:cxn modelId="{54BE6FF7-DE79-4723-8465-86A96A1F1700}" type="presParOf" srcId="{077C0A5F-F92B-45C6-A5DA-2F25749A681D}" destId="{A0D0E2D5-09F3-4584-9D28-6B7190CFF288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391F057C-73AE-47F1-919B-1469C75D40E8}" type="doc">
      <dgm:prSet loTypeId="urn:microsoft.com/office/officeart/2008/layout/PictureAccentList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B1396D5-87ED-4A6F-907C-A9A6E09978C3}">
      <dgm:prSet phldrT="[Text]" custT="1"/>
      <dgm:spPr>
        <a:solidFill>
          <a:srgbClr val="7030A0"/>
        </a:solidFill>
      </dgm:spPr>
      <dgm:t>
        <a:bodyPr/>
        <a:lstStyle/>
        <a:p>
          <a:r>
            <a:rPr lang="en-MY" sz="6600" smtClean="0"/>
            <a:t>Processes &amp; Activities</a:t>
          </a:r>
          <a:endParaRPr lang="en-US" sz="6600"/>
        </a:p>
      </dgm:t>
    </dgm:pt>
    <dgm:pt modelId="{B85300BF-59DB-40B5-B89B-7A3D1A883252}" type="parTrans" cxnId="{10559C31-DE0F-4707-A8EE-00D24500E482}">
      <dgm:prSet/>
      <dgm:spPr/>
      <dgm:t>
        <a:bodyPr/>
        <a:lstStyle/>
        <a:p>
          <a:endParaRPr lang="en-US"/>
        </a:p>
      </dgm:t>
    </dgm:pt>
    <dgm:pt modelId="{8D5C2864-0C60-4F00-9BE7-4F7185743B61}" type="sibTrans" cxnId="{10559C31-DE0F-4707-A8EE-00D24500E482}">
      <dgm:prSet/>
      <dgm:spPr/>
      <dgm:t>
        <a:bodyPr/>
        <a:lstStyle/>
        <a:p>
          <a:endParaRPr lang="en-US"/>
        </a:p>
      </dgm:t>
    </dgm:pt>
    <dgm:pt modelId="{3D0AEE9D-9978-4758-A9BD-BD08A797168C}">
      <dgm:prSet phldrT="[Text]" custT="1"/>
      <dgm:spPr>
        <a:solidFill>
          <a:srgbClr val="7030A0"/>
        </a:solidFill>
      </dgm:spPr>
      <dgm:t>
        <a:bodyPr/>
        <a:lstStyle/>
        <a:p>
          <a:r>
            <a:rPr lang="en-US" sz="2800" smtClean="0"/>
            <a:t>…can be more productive if certain processes and activities are put and stated explicitly in the standard learning</a:t>
          </a:r>
          <a:endParaRPr lang="en-US" sz="2800"/>
        </a:p>
      </dgm:t>
    </dgm:pt>
    <dgm:pt modelId="{9A2C7464-DB71-455A-81EC-4DD2D13D9AFD}" type="parTrans" cxnId="{F6D63D10-2765-421E-9F5B-5BDBBA5FBB0F}">
      <dgm:prSet/>
      <dgm:spPr/>
      <dgm:t>
        <a:bodyPr/>
        <a:lstStyle/>
        <a:p>
          <a:endParaRPr lang="en-US"/>
        </a:p>
      </dgm:t>
    </dgm:pt>
    <dgm:pt modelId="{F9B9F893-4196-4E8B-A5A1-A233F34143E4}" type="sibTrans" cxnId="{F6D63D10-2765-421E-9F5B-5BDBBA5FBB0F}">
      <dgm:prSet/>
      <dgm:spPr/>
      <dgm:t>
        <a:bodyPr/>
        <a:lstStyle/>
        <a:p>
          <a:endParaRPr lang="en-US"/>
        </a:p>
      </dgm:t>
    </dgm:pt>
    <dgm:pt modelId="{3AAAD5FE-9D10-4F9B-9420-F65F6B440D93}">
      <dgm:prSet phldrT="[Text]" custT="1"/>
      <dgm:spPr>
        <a:solidFill>
          <a:srgbClr val="7030A0"/>
        </a:solidFill>
      </dgm:spPr>
      <dgm:t>
        <a:bodyPr/>
        <a:lstStyle/>
        <a:p>
          <a:r>
            <a:rPr lang="en-MY" sz="2800" smtClean="0"/>
            <a:t>…</a:t>
          </a:r>
          <a:r>
            <a:rPr lang="en-US" sz="2800" smtClean="0"/>
            <a:t>in some conceptual understanding, students need to go certain activities and processes</a:t>
          </a:r>
          <a:endParaRPr lang="en-US" sz="2800"/>
        </a:p>
      </dgm:t>
    </dgm:pt>
    <dgm:pt modelId="{EA84614B-4E85-49DC-BB23-4F3236208DFB}" type="parTrans" cxnId="{F544BE68-B30A-4D91-8EED-C517B206F186}">
      <dgm:prSet/>
      <dgm:spPr/>
      <dgm:t>
        <a:bodyPr/>
        <a:lstStyle/>
        <a:p>
          <a:endParaRPr lang="en-US"/>
        </a:p>
      </dgm:t>
    </dgm:pt>
    <dgm:pt modelId="{B9FEFEFE-9E01-4577-9D4E-DB0B156169B1}" type="sibTrans" cxnId="{F544BE68-B30A-4D91-8EED-C517B206F186}">
      <dgm:prSet/>
      <dgm:spPr/>
      <dgm:t>
        <a:bodyPr/>
        <a:lstStyle/>
        <a:p>
          <a:endParaRPr lang="en-US"/>
        </a:p>
      </dgm:t>
    </dgm:pt>
    <dgm:pt modelId="{5F88E72D-6EF2-446A-A457-0FDE4CD5AF68}">
      <dgm:prSet phldrT="[Text]" custT="1"/>
      <dgm:spPr>
        <a:solidFill>
          <a:srgbClr val="7030A0"/>
        </a:solidFill>
      </dgm:spPr>
      <dgm:t>
        <a:bodyPr/>
        <a:lstStyle/>
        <a:p>
          <a:r>
            <a:rPr lang="en-MY" sz="2800" smtClean="0"/>
            <a:t>…</a:t>
          </a:r>
          <a:r>
            <a:rPr lang="en-US" sz="2800" smtClean="0"/>
            <a:t>Teachers can add their creativity in implementing suitable pedagogical approach</a:t>
          </a:r>
          <a:endParaRPr lang="en-US" sz="2800"/>
        </a:p>
      </dgm:t>
    </dgm:pt>
    <dgm:pt modelId="{2A7FB432-841F-4CEC-BC50-81D488EE22B6}" type="parTrans" cxnId="{C30F8EA3-510B-460C-B43D-2A75C15467BC}">
      <dgm:prSet/>
      <dgm:spPr/>
      <dgm:t>
        <a:bodyPr/>
        <a:lstStyle/>
        <a:p>
          <a:endParaRPr lang="en-US"/>
        </a:p>
      </dgm:t>
    </dgm:pt>
    <dgm:pt modelId="{31F0394D-471A-42C0-8C5E-CED0D7FE0E3C}" type="sibTrans" cxnId="{C30F8EA3-510B-460C-B43D-2A75C15467BC}">
      <dgm:prSet/>
      <dgm:spPr/>
      <dgm:t>
        <a:bodyPr/>
        <a:lstStyle/>
        <a:p>
          <a:endParaRPr lang="en-US"/>
        </a:p>
      </dgm:t>
    </dgm:pt>
    <dgm:pt modelId="{283C988A-6225-4A96-A388-933B2E872292}" type="pres">
      <dgm:prSet presAssocID="{391F057C-73AE-47F1-919B-1469C75D40E8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453A4C8E-FEEB-4E60-B603-D4D1104065D8}" type="pres">
      <dgm:prSet presAssocID="{4B1396D5-87ED-4A6F-907C-A9A6E09978C3}" presName="root" presStyleCnt="0">
        <dgm:presLayoutVars>
          <dgm:chMax/>
          <dgm:chPref val="4"/>
        </dgm:presLayoutVars>
      </dgm:prSet>
      <dgm:spPr/>
    </dgm:pt>
    <dgm:pt modelId="{CBC42E0D-1EAA-43ED-A86C-6A69A5296239}" type="pres">
      <dgm:prSet presAssocID="{4B1396D5-87ED-4A6F-907C-A9A6E09978C3}" presName="rootComposite" presStyleCnt="0">
        <dgm:presLayoutVars/>
      </dgm:prSet>
      <dgm:spPr/>
    </dgm:pt>
    <dgm:pt modelId="{F723709C-46FE-4F81-8241-F6C46F5121DB}" type="pres">
      <dgm:prSet presAssocID="{4B1396D5-87ED-4A6F-907C-A9A6E09978C3}" presName="rootText" presStyleLbl="node0" presStyleIdx="0" presStyleCnt="1">
        <dgm:presLayoutVars>
          <dgm:chMax/>
          <dgm:chPref val="4"/>
        </dgm:presLayoutVars>
      </dgm:prSet>
      <dgm:spPr/>
      <dgm:t>
        <a:bodyPr/>
        <a:lstStyle/>
        <a:p>
          <a:endParaRPr lang="en-US"/>
        </a:p>
      </dgm:t>
    </dgm:pt>
    <dgm:pt modelId="{0D45BE37-ED62-4AC2-801B-8D96CCA1B910}" type="pres">
      <dgm:prSet presAssocID="{4B1396D5-87ED-4A6F-907C-A9A6E09978C3}" presName="childShape" presStyleCnt="0">
        <dgm:presLayoutVars>
          <dgm:chMax val="0"/>
          <dgm:chPref val="0"/>
        </dgm:presLayoutVars>
      </dgm:prSet>
      <dgm:spPr/>
    </dgm:pt>
    <dgm:pt modelId="{44D856AF-EF4B-4C96-BB78-EFEAB0645165}" type="pres">
      <dgm:prSet presAssocID="{3D0AEE9D-9978-4758-A9BD-BD08A797168C}" presName="childComposite" presStyleCnt="0">
        <dgm:presLayoutVars>
          <dgm:chMax val="0"/>
          <dgm:chPref val="0"/>
        </dgm:presLayoutVars>
      </dgm:prSet>
      <dgm:spPr/>
    </dgm:pt>
    <dgm:pt modelId="{6B814B83-B966-4990-89A9-9A0AD2696E77}" type="pres">
      <dgm:prSet presAssocID="{3D0AEE9D-9978-4758-A9BD-BD08A797168C}" presName="Image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</dgm:spPr>
    </dgm:pt>
    <dgm:pt modelId="{42B00024-B01B-4B7E-90E1-DB45E756493C}" type="pres">
      <dgm:prSet presAssocID="{3D0AEE9D-9978-4758-A9BD-BD08A797168C}" presName="childText" presStyleLbl="l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4A3E52-2A91-4478-A09E-13785EEC5775}" type="pres">
      <dgm:prSet presAssocID="{3AAAD5FE-9D10-4F9B-9420-F65F6B440D93}" presName="childComposite" presStyleCnt="0">
        <dgm:presLayoutVars>
          <dgm:chMax val="0"/>
          <dgm:chPref val="0"/>
        </dgm:presLayoutVars>
      </dgm:prSet>
      <dgm:spPr/>
    </dgm:pt>
    <dgm:pt modelId="{B9CA22CA-78E2-4DE3-AC27-73E8F3C69146}" type="pres">
      <dgm:prSet presAssocID="{3AAAD5FE-9D10-4F9B-9420-F65F6B440D93}" presName="Image" presStyleLbl="node1" presStyleIdx="1" presStyleCnt="3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</dgm:spPr>
    </dgm:pt>
    <dgm:pt modelId="{4E9804A8-A289-4A2F-9420-919CE80813D3}" type="pres">
      <dgm:prSet presAssocID="{3AAAD5FE-9D10-4F9B-9420-F65F6B440D93}" presName="childText" presStyleLbl="l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9370B4-883C-44A6-BD4A-D184D3AB6270}" type="pres">
      <dgm:prSet presAssocID="{5F88E72D-6EF2-446A-A457-0FDE4CD5AF68}" presName="childComposite" presStyleCnt="0">
        <dgm:presLayoutVars>
          <dgm:chMax val="0"/>
          <dgm:chPref val="0"/>
        </dgm:presLayoutVars>
      </dgm:prSet>
      <dgm:spPr/>
    </dgm:pt>
    <dgm:pt modelId="{1B256CAA-7762-4DA4-9C71-7C7A6B94041C}" type="pres">
      <dgm:prSet presAssocID="{5F88E72D-6EF2-446A-A457-0FDE4CD5AF68}" presName="Image" presStyleLbl="nod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130012F8-1E1D-4CE3-8512-92D95534FA5A}" type="pres">
      <dgm:prSet presAssocID="{5F88E72D-6EF2-446A-A457-0FDE4CD5AF68}" presName="childText" presStyleLbl="l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30F8EA3-510B-460C-B43D-2A75C15467BC}" srcId="{4B1396D5-87ED-4A6F-907C-A9A6E09978C3}" destId="{5F88E72D-6EF2-446A-A457-0FDE4CD5AF68}" srcOrd="2" destOrd="0" parTransId="{2A7FB432-841F-4CEC-BC50-81D488EE22B6}" sibTransId="{31F0394D-471A-42C0-8C5E-CED0D7FE0E3C}"/>
    <dgm:cxn modelId="{F544BE68-B30A-4D91-8EED-C517B206F186}" srcId="{4B1396D5-87ED-4A6F-907C-A9A6E09978C3}" destId="{3AAAD5FE-9D10-4F9B-9420-F65F6B440D93}" srcOrd="1" destOrd="0" parTransId="{EA84614B-4E85-49DC-BB23-4F3236208DFB}" sibTransId="{B9FEFEFE-9E01-4577-9D4E-DB0B156169B1}"/>
    <dgm:cxn modelId="{86FDF813-7CEA-4C52-A389-768C0315190D}" type="presOf" srcId="{4B1396D5-87ED-4A6F-907C-A9A6E09978C3}" destId="{F723709C-46FE-4F81-8241-F6C46F5121DB}" srcOrd="0" destOrd="0" presId="urn:microsoft.com/office/officeart/2008/layout/PictureAccentList"/>
    <dgm:cxn modelId="{F8B85A4C-3A51-4E26-ADD9-F98676EEC1AD}" type="presOf" srcId="{5F88E72D-6EF2-446A-A457-0FDE4CD5AF68}" destId="{130012F8-1E1D-4CE3-8512-92D95534FA5A}" srcOrd="0" destOrd="0" presId="urn:microsoft.com/office/officeart/2008/layout/PictureAccentList"/>
    <dgm:cxn modelId="{F6D63D10-2765-421E-9F5B-5BDBBA5FBB0F}" srcId="{4B1396D5-87ED-4A6F-907C-A9A6E09978C3}" destId="{3D0AEE9D-9978-4758-A9BD-BD08A797168C}" srcOrd="0" destOrd="0" parTransId="{9A2C7464-DB71-455A-81EC-4DD2D13D9AFD}" sibTransId="{F9B9F893-4196-4E8B-A5A1-A233F34143E4}"/>
    <dgm:cxn modelId="{4258778F-C15A-4B2C-B44C-11589C62B145}" type="presOf" srcId="{391F057C-73AE-47F1-919B-1469C75D40E8}" destId="{283C988A-6225-4A96-A388-933B2E872292}" srcOrd="0" destOrd="0" presId="urn:microsoft.com/office/officeart/2008/layout/PictureAccentList"/>
    <dgm:cxn modelId="{6F640D1F-6973-44B7-A658-FD40059B9205}" type="presOf" srcId="{3AAAD5FE-9D10-4F9B-9420-F65F6B440D93}" destId="{4E9804A8-A289-4A2F-9420-919CE80813D3}" srcOrd="0" destOrd="0" presId="urn:microsoft.com/office/officeart/2008/layout/PictureAccentList"/>
    <dgm:cxn modelId="{10559C31-DE0F-4707-A8EE-00D24500E482}" srcId="{391F057C-73AE-47F1-919B-1469C75D40E8}" destId="{4B1396D5-87ED-4A6F-907C-A9A6E09978C3}" srcOrd="0" destOrd="0" parTransId="{B85300BF-59DB-40B5-B89B-7A3D1A883252}" sibTransId="{8D5C2864-0C60-4F00-9BE7-4F7185743B61}"/>
    <dgm:cxn modelId="{84E0006D-5019-4A9C-A8B4-71C16BCA3050}" type="presOf" srcId="{3D0AEE9D-9978-4758-A9BD-BD08A797168C}" destId="{42B00024-B01B-4B7E-90E1-DB45E756493C}" srcOrd="0" destOrd="0" presId="urn:microsoft.com/office/officeart/2008/layout/PictureAccentList"/>
    <dgm:cxn modelId="{C2BFDB20-097F-4B53-8D06-C3FDBF84B005}" type="presParOf" srcId="{283C988A-6225-4A96-A388-933B2E872292}" destId="{453A4C8E-FEEB-4E60-B603-D4D1104065D8}" srcOrd="0" destOrd="0" presId="urn:microsoft.com/office/officeart/2008/layout/PictureAccentList"/>
    <dgm:cxn modelId="{BA610077-9E45-4EE8-B887-D5391E261BA1}" type="presParOf" srcId="{453A4C8E-FEEB-4E60-B603-D4D1104065D8}" destId="{CBC42E0D-1EAA-43ED-A86C-6A69A5296239}" srcOrd="0" destOrd="0" presId="urn:microsoft.com/office/officeart/2008/layout/PictureAccentList"/>
    <dgm:cxn modelId="{9AC38885-B865-4BFC-A9C9-F668FDACA98C}" type="presParOf" srcId="{CBC42E0D-1EAA-43ED-A86C-6A69A5296239}" destId="{F723709C-46FE-4F81-8241-F6C46F5121DB}" srcOrd="0" destOrd="0" presId="urn:microsoft.com/office/officeart/2008/layout/PictureAccentList"/>
    <dgm:cxn modelId="{AE2EA7CE-9723-48E6-8E4C-799632594947}" type="presParOf" srcId="{453A4C8E-FEEB-4E60-B603-D4D1104065D8}" destId="{0D45BE37-ED62-4AC2-801B-8D96CCA1B910}" srcOrd="1" destOrd="0" presId="urn:microsoft.com/office/officeart/2008/layout/PictureAccentList"/>
    <dgm:cxn modelId="{5491F814-9D2B-40C7-A8ED-D1E5AA494541}" type="presParOf" srcId="{0D45BE37-ED62-4AC2-801B-8D96CCA1B910}" destId="{44D856AF-EF4B-4C96-BB78-EFEAB0645165}" srcOrd="0" destOrd="0" presId="urn:microsoft.com/office/officeart/2008/layout/PictureAccentList"/>
    <dgm:cxn modelId="{8B9F40B3-C49B-458B-994F-F4A964C6DB54}" type="presParOf" srcId="{44D856AF-EF4B-4C96-BB78-EFEAB0645165}" destId="{6B814B83-B966-4990-89A9-9A0AD2696E77}" srcOrd="0" destOrd="0" presId="urn:microsoft.com/office/officeart/2008/layout/PictureAccentList"/>
    <dgm:cxn modelId="{0C33AB91-CF45-41EB-952B-298A42A43D7F}" type="presParOf" srcId="{44D856AF-EF4B-4C96-BB78-EFEAB0645165}" destId="{42B00024-B01B-4B7E-90E1-DB45E756493C}" srcOrd="1" destOrd="0" presId="urn:microsoft.com/office/officeart/2008/layout/PictureAccentList"/>
    <dgm:cxn modelId="{909FB35F-E2B0-453A-BA1C-F2E8761D9A2D}" type="presParOf" srcId="{0D45BE37-ED62-4AC2-801B-8D96CCA1B910}" destId="{904A3E52-2A91-4478-A09E-13785EEC5775}" srcOrd="1" destOrd="0" presId="urn:microsoft.com/office/officeart/2008/layout/PictureAccentList"/>
    <dgm:cxn modelId="{04ABA3A0-9971-4F59-93A8-0E7F8B5BCF2D}" type="presParOf" srcId="{904A3E52-2A91-4478-A09E-13785EEC5775}" destId="{B9CA22CA-78E2-4DE3-AC27-73E8F3C69146}" srcOrd="0" destOrd="0" presId="urn:microsoft.com/office/officeart/2008/layout/PictureAccentList"/>
    <dgm:cxn modelId="{30885779-83E4-4E7A-8574-8CCC3984EB7E}" type="presParOf" srcId="{904A3E52-2A91-4478-A09E-13785EEC5775}" destId="{4E9804A8-A289-4A2F-9420-919CE80813D3}" srcOrd="1" destOrd="0" presId="urn:microsoft.com/office/officeart/2008/layout/PictureAccentList"/>
    <dgm:cxn modelId="{DB0106D7-DAA8-4BB7-9183-6617F3303FC3}" type="presParOf" srcId="{0D45BE37-ED62-4AC2-801B-8D96CCA1B910}" destId="{B29370B4-883C-44A6-BD4A-D184D3AB6270}" srcOrd="2" destOrd="0" presId="urn:microsoft.com/office/officeart/2008/layout/PictureAccentList"/>
    <dgm:cxn modelId="{5BF6C908-BF21-4FCB-A0E3-696225A00FF5}" type="presParOf" srcId="{B29370B4-883C-44A6-BD4A-D184D3AB6270}" destId="{1B256CAA-7762-4DA4-9C71-7C7A6B94041C}" srcOrd="0" destOrd="0" presId="urn:microsoft.com/office/officeart/2008/layout/PictureAccentList"/>
    <dgm:cxn modelId="{86DBC54D-EE9F-4EC2-B1BF-291D009FD066}" type="presParOf" srcId="{B29370B4-883C-44A6-BD4A-D184D3AB6270}" destId="{130012F8-1E1D-4CE3-8512-92D95534FA5A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D9138148-5918-4660-8CF5-391D13F05F05}" type="doc">
      <dgm:prSet loTypeId="urn:microsoft.com/office/officeart/2005/8/layout/arrow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BB4F17F-169A-4B12-A786-29DB36544D29}">
      <dgm:prSet phldrT="[Text]" custT="1"/>
      <dgm:spPr/>
      <dgm:t>
        <a:bodyPr/>
        <a:lstStyle/>
        <a:p>
          <a:r>
            <a:rPr lang="en-MY" sz="2800" smtClean="0"/>
            <a:t>…</a:t>
          </a:r>
          <a:r>
            <a:rPr lang="en-US" sz="2800" smtClean="0"/>
            <a:t>should be written to inspire or encourage the curriculum developer or  policy makers in these countries to adopt and adapt </a:t>
          </a:r>
          <a:endParaRPr lang="en-US" sz="1600"/>
        </a:p>
      </dgm:t>
    </dgm:pt>
    <dgm:pt modelId="{1815E734-B5CA-48F9-9D04-5F6D594373BE}" type="parTrans" cxnId="{0B1142DA-305C-428A-907C-D31C5DF743C2}">
      <dgm:prSet/>
      <dgm:spPr/>
      <dgm:t>
        <a:bodyPr/>
        <a:lstStyle/>
        <a:p>
          <a:endParaRPr lang="en-US"/>
        </a:p>
      </dgm:t>
    </dgm:pt>
    <dgm:pt modelId="{6FC8A9F4-F4CA-44FA-B5A8-F8E88258CFB3}" type="sibTrans" cxnId="{0B1142DA-305C-428A-907C-D31C5DF743C2}">
      <dgm:prSet/>
      <dgm:spPr/>
      <dgm:t>
        <a:bodyPr/>
        <a:lstStyle/>
        <a:p>
          <a:endParaRPr lang="en-US"/>
        </a:p>
      </dgm:t>
    </dgm:pt>
    <dgm:pt modelId="{4658C09C-0F61-42DE-A7A4-C4DD52C784EB}">
      <dgm:prSet phldrT="[Text]" custT="1"/>
      <dgm:spPr/>
      <dgm:t>
        <a:bodyPr/>
        <a:lstStyle/>
        <a:p>
          <a:pPr rtl="0"/>
          <a:r>
            <a:rPr lang="en-US" sz="2800" smtClean="0"/>
            <a:t>…should appear as Key-Stage-based standards, instead of grade-based standards.</a:t>
          </a:r>
          <a:endParaRPr lang="en-US" sz="2800"/>
        </a:p>
      </dgm:t>
    </dgm:pt>
    <dgm:pt modelId="{519EFBF7-8255-4195-B961-0CA73CF54CA2}" type="parTrans" cxnId="{DD50CE20-7A6F-4C6A-8D0B-7B1A3F0E3FCC}">
      <dgm:prSet/>
      <dgm:spPr/>
      <dgm:t>
        <a:bodyPr/>
        <a:lstStyle/>
        <a:p>
          <a:endParaRPr lang="en-US"/>
        </a:p>
      </dgm:t>
    </dgm:pt>
    <dgm:pt modelId="{22B940F7-3AA4-439B-A4D1-7E33969F32B9}" type="sibTrans" cxnId="{DD50CE20-7A6F-4C6A-8D0B-7B1A3F0E3FCC}">
      <dgm:prSet/>
      <dgm:spPr/>
      <dgm:t>
        <a:bodyPr/>
        <a:lstStyle/>
        <a:p>
          <a:endParaRPr lang="en-US"/>
        </a:p>
      </dgm:t>
    </dgm:pt>
    <dgm:pt modelId="{61CE62B9-FB33-41EB-B944-44512AD5AFB0}" type="pres">
      <dgm:prSet presAssocID="{D9138148-5918-4660-8CF5-391D13F05F05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54F01D9-7E17-47C9-9FCD-DC7ADD6FDD25}" type="pres">
      <dgm:prSet presAssocID="{D9138148-5918-4660-8CF5-391D13F05F05}" presName="arrow" presStyleLbl="bgShp" presStyleIdx="0" presStyleCnt="1"/>
      <dgm:spPr/>
    </dgm:pt>
    <dgm:pt modelId="{7099065E-405D-463F-AC21-FBCEB4DD2424}" type="pres">
      <dgm:prSet presAssocID="{D9138148-5918-4660-8CF5-391D13F05F05}" presName="arrowDiagram2" presStyleCnt="0"/>
      <dgm:spPr/>
    </dgm:pt>
    <dgm:pt modelId="{D6CBB663-5617-4209-83A8-AAEE98CF32D7}" type="pres">
      <dgm:prSet presAssocID="{BBB4F17F-169A-4B12-A786-29DB36544D29}" presName="bullet2a" presStyleLbl="node1" presStyleIdx="0" presStyleCnt="2"/>
      <dgm:spPr/>
    </dgm:pt>
    <dgm:pt modelId="{50208844-2756-4206-8F72-ACDE2BC0C56D}" type="pres">
      <dgm:prSet presAssocID="{BBB4F17F-169A-4B12-A786-29DB36544D29}" presName="textBox2a" presStyleLbl="revTx" presStyleIdx="0" presStyleCnt="2" custScaleX="188483" custLinFactNeighborX="45189" custLinFactNeighborY="-18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984C8F-0D40-4F53-9467-5C79D7822F64}" type="pres">
      <dgm:prSet presAssocID="{4658C09C-0F61-42DE-A7A4-C4DD52C784EB}" presName="bullet2b" presStyleLbl="node1" presStyleIdx="1" presStyleCnt="2"/>
      <dgm:spPr/>
    </dgm:pt>
    <dgm:pt modelId="{A10EE460-A5C6-4090-9C9A-831B87215151}" type="pres">
      <dgm:prSet presAssocID="{4658C09C-0F61-42DE-A7A4-C4DD52C784EB}" presName="textBox2b" presStyleLbl="revTx" presStyleIdx="1" presStyleCnt="2" custScaleX="168417" custScaleY="96281" custLinFactNeighborX="41021" custLinFactNeighborY="-1624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FF9415A-E0FA-4B81-9A7C-6B69B2889183}" type="presOf" srcId="{D9138148-5918-4660-8CF5-391D13F05F05}" destId="{61CE62B9-FB33-41EB-B944-44512AD5AFB0}" srcOrd="0" destOrd="0" presId="urn:microsoft.com/office/officeart/2005/8/layout/arrow2"/>
    <dgm:cxn modelId="{0B1142DA-305C-428A-907C-D31C5DF743C2}" srcId="{D9138148-5918-4660-8CF5-391D13F05F05}" destId="{BBB4F17F-169A-4B12-A786-29DB36544D29}" srcOrd="0" destOrd="0" parTransId="{1815E734-B5CA-48F9-9D04-5F6D594373BE}" sibTransId="{6FC8A9F4-F4CA-44FA-B5A8-F8E88258CFB3}"/>
    <dgm:cxn modelId="{BF1CA834-590D-482C-B20A-80916F73F5B3}" type="presOf" srcId="{4658C09C-0F61-42DE-A7A4-C4DD52C784EB}" destId="{A10EE460-A5C6-4090-9C9A-831B87215151}" srcOrd="0" destOrd="0" presId="urn:microsoft.com/office/officeart/2005/8/layout/arrow2"/>
    <dgm:cxn modelId="{C239C930-ABD8-499A-A5AD-383380AA7F78}" type="presOf" srcId="{BBB4F17F-169A-4B12-A786-29DB36544D29}" destId="{50208844-2756-4206-8F72-ACDE2BC0C56D}" srcOrd="0" destOrd="0" presId="urn:microsoft.com/office/officeart/2005/8/layout/arrow2"/>
    <dgm:cxn modelId="{DD50CE20-7A6F-4C6A-8D0B-7B1A3F0E3FCC}" srcId="{D9138148-5918-4660-8CF5-391D13F05F05}" destId="{4658C09C-0F61-42DE-A7A4-C4DD52C784EB}" srcOrd="1" destOrd="0" parTransId="{519EFBF7-8255-4195-B961-0CA73CF54CA2}" sibTransId="{22B940F7-3AA4-439B-A4D1-7E33969F32B9}"/>
    <dgm:cxn modelId="{AAC60292-CDCD-4828-BD71-6C7BCE2F7B6E}" type="presParOf" srcId="{61CE62B9-FB33-41EB-B944-44512AD5AFB0}" destId="{954F01D9-7E17-47C9-9FCD-DC7ADD6FDD25}" srcOrd="0" destOrd="0" presId="urn:microsoft.com/office/officeart/2005/8/layout/arrow2"/>
    <dgm:cxn modelId="{472B8223-0061-4A51-A948-35953C96956A}" type="presParOf" srcId="{61CE62B9-FB33-41EB-B944-44512AD5AFB0}" destId="{7099065E-405D-463F-AC21-FBCEB4DD2424}" srcOrd="1" destOrd="0" presId="urn:microsoft.com/office/officeart/2005/8/layout/arrow2"/>
    <dgm:cxn modelId="{69BDC498-F1B5-4E34-A431-007DE9F067AB}" type="presParOf" srcId="{7099065E-405D-463F-AC21-FBCEB4DD2424}" destId="{D6CBB663-5617-4209-83A8-AAEE98CF32D7}" srcOrd="0" destOrd="0" presId="urn:microsoft.com/office/officeart/2005/8/layout/arrow2"/>
    <dgm:cxn modelId="{1C76D282-33EB-4304-B894-48C9A6B9DF70}" type="presParOf" srcId="{7099065E-405D-463F-AC21-FBCEB4DD2424}" destId="{50208844-2756-4206-8F72-ACDE2BC0C56D}" srcOrd="1" destOrd="0" presId="urn:microsoft.com/office/officeart/2005/8/layout/arrow2"/>
    <dgm:cxn modelId="{49638949-51EA-407A-B609-4995DF5D138F}" type="presParOf" srcId="{7099065E-405D-463F-AC21-FBCEB4DD2424}" destId="{23984C8F-0D40-4F53-9467-5C79D7822F64}" srcOrd="2" destOrd="0" presId="urn:microsoft.com/office/officeart/2005/8/layout/arrow2"/>
    <dgm:cxn modelId="{81EFDD6F-EA0D-402A-B9A9-1A7AC9403FC7}" type="presParOf" srcId="{7099065E-405D-463F-AC21-FBCEB4DD2424}" destId="{A10EE460-A5C6-4090-9C9A-831B87215151}" srcOrd="3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23B81747-A2B9-4295-8332-0B648C2BA594}" type="doc">
      <dgm:prSet loTypeId="urn:microsoft.com/office/officeart/2008/layout/VerticalCurvedList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1A36A755-367E-4FCA-ADDB-D82341365DA3}">
      <dgm:prSet phldrT="[Text]"/>
      <dgm:spPr/>
      <dgm:t>
        <a:bodyPr/>
        <a:lstStyle/>
        <a:p>
          <a:r>
            <a:rPr lang="en-MY" smtClean="0"/>
            <a:t>21</a:t>
          </a:r>
          <a:r>
            <a:rPr lang="en-MY" baseline="30000" smtClean="0"/>
            <a:t>st</a:t>
          </a:r>
          <a:r>
            <a:rPr lang="en-MY" smtClean="0"/>
            <a:t> century skills - knowhow</a:t>
          </a:r>
          <a:endParaRPr lang="en-US"/>
        </a:p>
      </dgm:t>
    </dgm:pt>
    <dgm:pt modelId="{2BE369C7-969F-4682-AF76-FB24687A95E2}" type="parTrans" cxnId="{3C0B4159-8FDF-4F49-9CEC-2218E9E93BFA}">
      <dgm:prSet/>
      <dgm:spPr/>
      <dgm:t>
        <a:bodyPr/>
        <a:lstStyle/>
        <a:p>
          <a:endParaRPr lang="en-US"/>
        </a:p>
      </dgm:t>
    </dgm:pt>
    <dgm:pt modelId="{D86F83AA-1C51-4978-AE60-E6CF759EB980}" type="sibTrans" cxnId="{3C0B4159-8FDF-4F49-9CEC-2218E9E93BFA}">
      <dgm:prSet/>
      <dgm:spPr/>
      <dgm:t>
        <a:bodyPr/>
        <a:lstStyle/>
        <a:p>
          <a:endParaRPr lang="en-US"/>
        </a:p>
      </dgm:t>
    </dgm:pt>
    <dgm:pt modelId="{5CEAD9CB-4A85-4EAA-9A96-552BCA90FB37}">
      <dgm:prSet phldrT="[Text]"/>
      <dgm:spPr/>
      <dgm:t>
        <a:bodyPr/>
        <a:lstStyle/>
        <a:p>
          <a:r>
            <a:rPr lang="en-MY" smtClean="0"/>
            <a:t>Regional values</a:t>
          </a:r>
          <a:endParaRPr lang="en-US"/>
        </a:p>
      </dgm:t>
    </dgm:pt>
    <dgm:pt modelId="{8B0AAF3E-F70E-4A45-A9B9-58925408A9A7}" type="parTrans" cxnId="{ADDBA2BC-ED7C-49C7-AF94-77718734F785}">
      <dgm:prSet/>
      <dgm:spPr/>
      <dgm:t>
        <a:bodyPr/>
        <a:lstStyle/>
        <a:p>
          <a:endParaRPr lang="en-US"/>
        </a:p>
      </dgm:t>
    </dgm:pt>
    <dgm:pt modelId="{0ABC0758-1A06-4DE8-8D76-B13CC5184C83}" type="sibTrans" cxnId="{ADDBA2BC-ED7C-49C7-AF94-77718734F785}">
      <dgm:prSet/>
      <dgm:spPr/>
      <dgm:t>
        <a:bodyPr/>
        <a:lstStyle/>
        <a:p>
          <a:endParaRPr lang="en-US"/>
        </a:p>
      </dgm:t>
    </dgm:pt>
    <dgm:pt modelId="{7F2F90B0-D85B-43D4-8D88-779A4F856B26}">
      <dgm:prSet phldrT="[Text]"/>
      <dgm:spPr/>
      <dgm:t>
        <a:bodyPr/>
        <a:lstStyle/>
        <a:p>
          <a:r>
            <a:rPr lang="en-MY" smtClean="0"/>
            <a:t>Global competencies</a:t>
          </a:r>
          <a:endParaRPr lang="en-US"/>
        </a:p>
      </dgm:t>
    </dgm:pt>
    <dgm:pt modelId="{4B590710-8DC5-46C5-BA46-1FAB3DE1B956}" type="parTrans" cxnId="{B8E67BB0-7D80-4FC2-B9B2-C8FE85ACF060}">
      <dgm:prSet/>
      <dgm:spPr/>
      <dgm:t>
        <a:bodyPr/>
        <a:lstStyle/>
        <a:p>
          <a:endParaRPr lang="en-US"/>
        </a:p>
      </dgm:t>
    </dgm:pt>
    <dgm:pt modelId="{66707505-D62D-48D9-97E4-45B808670114}" type="sibTrans" cxnId="{B8E67BB0-7D80-4FC2-B9B2-C8FE85ACF060}">
      <dgm:prSet/>
      <dgm:spPr/>
      <dgm:t>
        <a:bodyPr/>
        <a:lstStyle/>
        <a:p>
          <a:endParaRPr lang="en-US"/>
        </a:p>
      </dgm:t>
    </dgm:pt>
    <dgm:pt modelId="{D4328747-0977-43B2-ABC4-2ACA6BDDCDD8}">
      <dgm:prSet phldrT="[Text]"/>
      <dgm:spPr/>
      <dgm:t>
        <a:bodyPr/>
        <a:lstStyle/>
        <a:p>
          <a:r>
            <a:rPr lang="en-MY" smtClean="0"/>
            <a:t>TIMSS and PISA</a:t>
          </a:r>
          <a:endParaRPr lang="en-US"/>
        </a:p>
      </dgm:t>
    </dgm:pt>
    <dgm:pt modelId="{303534D6-9DA8-4039-AE65-49DAA9F83794}" type="parTrans" cxnId="{ABD96932-DBB9-4108-A7EA-8F41AA845C48}">
      <dgm:prSet/>
      <dgm:spPr/>
      <dgm:t>
        <a:bodyPr/>
        <a:lstStyle/>
        <a:p>
          <a:endParaRPr lang="en-US"/>
        </a:p>
      </dgm:t>
    </dgm:pt>
    <dgm:pt modelId="{2E6B2AD7-0609-4414-8F22-6B834EF5484C}" type="sibTrans" cxnId="{ABD96932-DBB9-4108-A7EA-8F41AA845C48}">
      <dgm:prSet/>
      <dgm:spPr/>
      <dgm:t>
        <a:bodyPr/>
        <a:lstStyle/>
        <a:p>
          <a:endParaRPr lang="en-US"/>
        </a:p>
      </dgm:t>
    </dgm:pt>
    <dgm:pt modelId="{3AF789C2-BA03-4D0F-B961-0C962EEA892B}" type="pres">
      <dgm:prSet presAssocID="{23B81747-A2B9-4295-8332-0B648C2BA59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93D3B4F9-C7ED-484D-B10A-5712655975C8}" type="pres">
      <dgm:prSet presAssocID="{23B81747-A2B9-4295-8332-0B648C2BA594}" presName="Name1" presStyleCnt="0"/>
      <dgm:spPr/>
    </dgm:pt>
    <dgm:pt modelId="{106EE29B-E315-46AA-96A2-D911BC4DE5D2}" type="pres">
      <dgm:prSet presAssocID="{23B81747-A2B9-4295-8332-0B648C2BA594}" presName="cycle" presStyleCnt="0"/>
      <dgm:spPr/>
    </dgm:pt>
    <dgm:pt modelId="{3374B02B-8688-4794-A8D6-8C488BECA65D}" type="pres">
      <dgm:prSet presAssocID="{23B81747-A2B9-4295-8332-0B648C2BA594}" presName="srcNode" presStyleLbl="node1" presStyleIdx="0" presStyleCnt="4"/>
      <dgm:spPr/>
    </dgm:pt>
    <dgm:pt modelId="{4DFDB530-15E8-4367-9577-7B3DC01C900C}" type="pres">
      <dgm:prSet presAssocID="{23B81747-A2B9-4295-8332-0B648C2BA594}" presName="conn" presStyleLbl="parChTrans1D2" presStyleIdx="0" presStyleCnt="1"/>
      <dgm:spPr/>
      <dgm:t>
        <a:bodyPr/>
        <a:lstStyle/>
        <a:p>
          <a:endParaRPr lang="en-US"/>
        </a:p>
      </dgm:t>
    </dgm:pt>
    <dgm:pt modelId="{81B5B5E3-FBB7-4141-826B-CD0DE0745122}" type="pres">
      <dgm:prSet presAssocID="{23B81747-A2B9-4295-8332-0B648C2BA594}" presName="extraNode" presStyleLbl="node1" presStyleIdx="0" presStyleCnt="4"/>
      <dgm:spPr/>
    </dgm:pt>
    <dgm:pt modelId="{224AD9CF-182F-4E7E-A4B4-5579C4B43DE4}" type="pres">
      <dgm:prSet presAssocID="{23B81747-A2B9-4295-8332-0B648C2BA594}" presName="dstNode" presStyleLbl="node1" presStyleIdx="0" presStyleCnt="4"/>
      <dgm:spPr/>
    </dgm:pt>
    <dgm:pt modelId="{569FB4E4-667E-4191-929A-EF0956343677}" type="pres">
      <dgm:prSet presAssocID="{1A36A755-367E-4FCA-ADDB-D82341365DA3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71C529-3578-41F0-9642-B5FD5DF9AA53}" type="pres">
      <dgm:prSet presAssocID="{1A36A755-367E-4FCA-ADDB-D82341365DA3}" presName="accent_1" presStyleCnt="0"/>
      <dgm:spPr/>
    </dgm:pt>
    <dgm:pt modelId="{B92859F4-64BC-4F41-8B08-4E9AE21CBD90}" type="pres">
      <dgm:prSet presAssocID="{1A36A755-367E-4FCA-ADDB-D82341365DA3}" presName="accentRepeatNode" presStyleLbl="solidFgAcc1" presStyleIdx="0" presStyleCnt="4"/>
      <dgm:spPr/>
    </dgm:pt>
    <dgm:pt modelId="{252F1028-D24D-4A68-823A-70B49E06D1B0}" type="pres">
      <dgm:prSet presAssocID="{5CEAD9CB-4A85-4EAA-9A96-552BCA90FB37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62F73F7-2502-4136-A1FB-36E4CD20384C}" type="pres">
      <dgm:prSet presAssocID="{5CEAD9CB-4A85-4EAA-9A96-552BCA90FB37}" presName="accent_2" presStyleCnt="0"/>
      <dgm:spPr/>
    </dgm:pt>
    <dgm:pt modelId="{2DE5C068-F4AC-4FDE-94B6-B92380384169}" type="pres">
      <dgm:prSet presAssocID="{5CEAD9CB-4A85-4EAA-9A96-552BCA90FB37}" presName="accentRepeatNode" presStyleLbl="solidFgAcc1" presStyleIdx="1" presStyleCnt="4"/>
      <dgm:spPr/>
    </dgm:pt>
    <dgm:pt modelId="{FB0C46DF-8D9D-45B0-814F-1D3728A4DC5F}" type="pres">
      <dgm:prSet presAssocID="{7F2F90B0-D85B-43D4-8D88-779A4F856B26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A8FF03-E36C-4C11-9C62-6B8B1D513BCD}" type="pres">
      <dgm:prSet presAssocID="{7F2F90B0-D85B-43D4-8D88-779A4F856B26}" presName="accent_3" presStyleCnt="0"/>
      <dgm:spPr/>
    </dgm:pt>
    <dgm:pt modelId="{7B141CBD-5375-4A30-8DD3-3CF923D773D0}" type="pres">
      <dgm:prSet presAssocID="{7F2F90B0-D85B-43D4-8D88-779A4F856B26}" presName="accentRepeatNode" presStyleLbl="solidFgAcc1" presStyleIdx="2" presStyleCnt="4"/>
      <dgm:spPr/>
    </dgm:pt>
    <dgm:pt modelId="{B2548135-4F85-43A6-ACE0-16BD0EAECD64}" type="pres">
      <dgm:prSet presAssocID="{D4328747-0977-43B2-ABC4-2ACA6BDDCDD8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1D92FD-6DE4-44C2-A8C8-32193C3E3BFB}" type="pres">
      <dgm:prSet presAssocID="{D4328747-0977-43B2-ABC4-2ACA6BDDCDD8}" presName="accent_4" presStyleCnt="0"/>
      <dgm:spPr/>
    </dgm:pt>
    <dgm:pt modelId="{50778B39-0935-4C1B-8C5A-C7390FA11DE6}" type="pres">
      <dgm:prSet presAssocID="{D4328747-0977-43B2-ABC4-2ACA6BDDCDD8}" presName="accentRepeatNode" presStyleLbl="solidFgAcc1" presStyleIdx="3" presStyleCnt="4"/>
      <dgm:spPr/>
    </dgm:pt>
  </dgm:ptLst>
  <dgm:cxnLst>
    <dgm:cxn modelId="{E3FA0D44-7B5A-477B-8D54-12EC0C48107E}" type="presOf" srcId="{7F2F90B0-D85B-43D4-8D88-779A4F856B26}" destId="{FB0C46DF-8D9D-45B0-814F-1D3728A4DC5F}" srcOrd="0" destOrd="0" presId="urn:microsoft.com/office/officeart/2008/layout/VerticalCurvedList"/>
    <dgm:cxn modelId="{ADDBA2BC-ED7C-49C7-AF94-77718734F785}" srcId="{23B81747-A2B9-4295-8332-0B648C2BA594}" destId="{5CEAD9CB-4A85-4EAA-9A96-552BCA90FB37}" srcOrd="1" destOrd="0" parTransId="{8B0AAF3E-F70E-4A45-A9B9-58925408A9A7}" sibTransId="{0ABC0758-1A06-4DE8-8D76-B13CC5184C83}"/>
    <dgm:cxn modelId="{02E2EEEE-B99A-4D19-A15C-F90F69F8535B}" type="presOf" srcId="{D4328747-0977-43B2-ABC4-2ACA6BDDCDD8}" destId="{B2548135-4F85-43A6-ACE0-16BD0EAECD64}" srcOrd="0" destOrd="0" presId="urn:microsoft.com/office/officeart/2008/layout/VerticalCurvedList"/>
    <dgm:cxn modelId="{433E36BB-5D12-47A9-A903-501030F52F65}" type="presOf" srcId="{D86F83AA-1C51-4978-AE60-E6CF759EB980}" destId="{4DFDB530-15E8-4367-9577-7B3DC01C900C}" srcOrd="0" destOrd="0" presId="urn:microsoft.com/office/officeart/2008/layout/VerticalCurvedList"/>
    <dgm:cxn modelId="{ED7989C4-895A-4F90-A1F8-D40DCB681C7F}" type="presOf" srcId="{23B81747-A2B9-4295-8332-0B648C2BA594}" destId="{3AF789C2-BA03-4D0F-B961-0C962EEA892B}" srcOrd="0" destOrd="0" presId="urn:microsoft.com/office/officeart/2008/layout/VerticalCurvedList"/>
    <dgm:cxn modelId="{B8E67BB0-7D80-4FC2-B9B2-C8FE85ACF060}" srcId="{23B81747-A2B9-4295-8332-0B648C2BA594}" destId="{7F2F90B0-D85B-43D4-8D88-779A4F856B26}" srcOrd="2" destOrd="0" parTransId="{4B590710-8DC5-46C5-BA46-1FAB3DE1B956}" sibTransId="{66707505-D62D-48D9-97E4-45B808670114}"/>
    <dgm:cxn modelId="{1FFB7468-B4A3-426F-B917-143437BFC9B0}" type="presOf" srcId="{5CEAD9CB-4A85-4EAA-9A96-552BCA90FB37}" destId="{252F1028-D24D-4A68-823A-70B49E06D1B0}" srcOrd="0" destOrd="0" presId="urn:microsoft.com/office/officeart/2008/layout/VerticalCurvedList"/>
    <dgm:cxn modelId="{ABD96932-DBB9-4108-A7EA-8F41AA845C48}" srcId="{23B81747-A2B9-4295-8332-0B648C2BA594}" destId="{D4328747-0977-43B2-ABC4-2ACA6BDDCDD8}" srcOrd="3" destOrd="0" parTransId="{303534D6-9DA8-4039-AE65-49DAA9F83794}" sibTransId="{2E6B2AD7-0609-4414-8F22-6B834EF5484C}"/>
    <dgm:cxn modelId="{A61E3D9B-C9BB-48FC-B22D-830631B581F4}" type="presOf" srcId="{1A36A755-367E-4FCA-ADDB-D82341365DA3}" destId="{569FB4E4-667E-4191-929A-EF0956343677}" srcOrd="0" destOrd="0" presId="urn:microsoft.com/office/officeart/2008/layout/VerticalCurvedList"/>
    <dgm:cxn modelId="{3C0B4159-8FDF-4F49-9CEC-2218E9E93BFA}" srcId="{23B81747-A2B9-4295-8332-0B648C2BA594}" destId="{1A36A755-367E-4FCA-ADDB-D82341365DA3}" srcOrd="0" destOrd="0" parTransId="{2BE369C7-969F-4682-AF76-FB24687A95E2}" sibTransId="{D86F83AA-1C51-4978-AE60-E6CF759EB980}"/>
    <dgm:cxn modelId="{11A5B19F-AA1A-4564-940A-573B4EEA288F}" type="presParOf" srcId="{3AF789C2-BA03-4D0F-B961-0C962EEA892B}" destId="{93D3B4F9-C7ED-484D-B10A-5712655975C8}" srcOrd="0" destOrd="0" presId="urn:microsoft.com/office/officeart/2008/layout/VerticalCurvedList"/>
    <dgm:cxn modelId="{F2EB1DD5-5698-4D85-ACEB-E505335188ED}" type="presParOf" srcId="{93D3B4F9-C7ED-484D-B10A-5712655975C8}" destId="{106EE29B-E315-46AA-96A2-D911BC4DE5D2}" srcOrd="0" destOrd="0" presId="urn:microsoft.com/office/officeart/2008/layout/VerticalCurvedList"/>
    <dgm:cxn modelId="{FCEA69E5-A554-44DE-9CB2-1FD3B0854109}" type="presParOf" srcId="{106EE29B-E315-46AA-96A2-D911BC4DE5D2}" destId="{3374B02B-8688-4794-A8D6-8C488BECA65D}" srcOrd="0" destOrd="0" presId="urn:microsoft.com/office/officeart/2008/layout/VerticalCurvedList"/>
    <dgm:cxn modelId="{991B7FB7-7F19-41F2-8A1F-157E22690965}" type="presParOf" srcId="{106EE29B-E315-46AA-96A2-D911BC4DE5D2}" destId="{4DFDB530-15E8-4367-9577-7B3DC01C900C}" srcOrd="1" destOrd="0" presId="urn:microsoft.com/office/officeart/2008/layout/VerticalCurvedList"/>
    <dgm:cxn modelId="{771B2F4B-7C75-4191-AE3C-2563C018CF80}" type="presParOf" srcId="{106EE29B-E315-46AA-96A2-D911BC4DE5D2}" destId="{81B5B5E3-FBB7-4141-826B-CD0DE0745122}" srcOrd="2" destOrd="0" presId="urn:microsoft.com/office/officeart/2008/layout/VerticalCurvedList"/>
    <dgm:cxn modelId="{99983E45-2452-47E2-9B77-2DE2083BD3AA}" type="presParOf" srcId="{106EE29B-E315-46AA-96A2-D911BC4DE5D2}" destId="{224AD9CF-182F-4E7E-A4B4-5579C4B43DE4}" srcOrd="3" destOrd="0" presId="urn:microsoft.com/office/officeart/2008/layout/VerticalCurvedList"/>
    <dgm:cxn modelId="{720BC8F4-CE29-46B9-980C-16E71CF5CBDB}" type="presParOf" srcId="{93D3B4F9-C7ED-484D-B10A-5712655975C8}" destId="{569FB4E4-667E-4191-929A-EF0956343677}" srcOrd="1" destOrd="0" presId="urn:microsoft.com/office/officeart/2008/layout/VerticalCurvedList"/>
    <dgm:cxn modelId="{AFF01257-2BC3-4BB8-8C64-3DD0FA6B39E7}" type="presParOf" srcId="{93D3B4F9-C7ED-484D-B10A-5712655975C8}" destId="{0D71C529-3578-41F0-9642-B5FD5DF9AA53}" srcOrd="2" destOrd="0" presId="urn:microsoft.com/office/officeart/2008/layout/VerticalCurvedList"/>
    <dgm:cxn modelId="{22B4D02D-47D7-4474-9BFC-D7BB6BE7CB08}" type="presParOf" srcId="{0D71C529-3578-41F0-9642-B5FD5DF9AA53}" destId="{B92859F4-64BC-4F41-8B08-4E9AE21CBD90}" srcOrd="0" destOrd="0" presId="urn:microsoft.com/office/officeart/2008/layout/VerticalCurvedList"/>
    <dgm:cxn modelId="{727A69E4-21D5-4795-A484-4DED5A273849}" type="presParOf" srcId="{93D3B4F9-C7ED-484D-B10A-5712655975C8}" destId="{252F1028-D24D-4A68-823A-70B49E06D1B0}" srcOrd="3" destOrd="0" presId="urn:microsoft.com/office/officeart/2008/layout/VerticalCurvedList"/>
    <dgm:cxn modelId="{ED688EAC-9228-4B5A-9F1D-6AD2DFE1C669}" type="presParOf" srcId="{93D3B4F9-C7ED-484D-B10A-5712655975C8}" destId="{962F73F7-2502-4136-A1FB-36E4CD20384C}" srcOrd="4" destOrd="0" presId="urn:microsoft.com/office/officeart/2008/layout/VerticalCurvedList"/>
    <dgm:cxn modelId="{2BD6EFFE-32E3-4A2F-B62C-2A0E084E2C00}" type="presParOf" srcId="{962F73F7-2502-4136-A1FB-36E4CD20384C}" destId="{2DE5C068-F4AC-4FDE-94B6-B92380384169}" srcOrd="0" destOrd="0" presId="urn:microsoft.com/office/officeart/2008/layout/VerticalCurvedList"/>
    <dgm:cxn modelId="{7B228FCB-168A-416C-A0E2-3BFAFC2790DD}" type="presParOf" srcId="{93D3B4F9-C7ED-484D-B10A-5712655975C8}" destId="{FB0C46DF-8D9D-45B0-814F-1D3728A4DC5F}" srcOrd="5" destOrd="0" presId="urn:microsoft.com/office/officeart/2008/layout/VerticalCurvedList"/>
    <dgm:cxn modelId="{C09A00D1-66D8-40B5-9D26-5BE82CB43CCC}" type="presParOf" srcId="{93D3B4F9-C7ED-484D-B10A-5712655975C8}" destId="{F8A8FF03-E36C-4C11-9C62-6B8B1D513BCD}" srcOrd="6" destOrd="0" presId="urn:microsoft.com/office/officeart/2008/layout/VerticalCurvedList"/>
    <dgm:cxn modelId="{78A7EC69-93EB-4067-9524-A01915966CC0}" type="presParOf" srcId="{F8A8FF03-E36C-4C11-9C62-6B8B1D513BCD}" destId="{7B141CBD-5375-4A30-8DD3-3CF923D773D0}" srcOrd="0" destOrd="0" presId="urn:microsoft.com/office/officeart/2008/layout/VerticalCurvedList"/>
    <dgm:cxn modelId="{FF84DA3D-83F1-4F84-8A14-CE1E558089B3}" type="presParOf" srcId="{93D3B4F9-C7ED-484D-B10A-5712655975C8}" destId="{B2548135-4F85-43A6-ACE0-16BD0EAECD64}" srcOrd="7" destOrd="0" presId="urn:microsoft.com/office/officeart/2008/layout/VerticalCurvedList"/>
    <dgm:cxn modelId="{F06AA0E1-38F2-47C2-9DF7-B2D2EC665A2D}" type="presParOf" srcId="{93D3B4F9-C7ED-484D-B10A-5712655975C8}" destId="{081D92FD-6DE4-44C2-A8C8-32193C3E3BFB}" srcOrd="8" destOrd="0" presId="urn:microsoft.com/office/officeart/2008/layout/VerticalCurvedList"/>
    <dgm:cxn modelId="{B59BC84F-F73F-422C-9A6D-7C7F5B6FA0D7}" type="presParOf" srcId="{081D92FD-6DE4-44C2-A8C8-32193C3E3BFB}" destId="{50778B39-0935-4C1B-8C5A-C7390FA11DE6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D604DF1-098D-4D80-9351-791069FCD3D2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C9F973E7-727D-48DE-8A92-26D42D400D82}">
      <dgm:prSet phldrT="[Text]"/>
      <dgm:spPr/>
      <dgm:t>
        <a:bodyPr/>
        <a:lstStyle/>
        <a:p>
          <a:r>
            <a:rPr lang="en-MY" smtClean="0"/>
            <a:t>Integrated Curriculum for Primay School (KBSR)</a:t>
          </a:r>
          <a:endParaRPr lang="en-US"/>
        </a:p>
      </dgm:t>
    </dgm:pt>
    <dgm:pt modelId="{57A4248A-54D5-4D30-819B-553A114DDC22}" type="parTrans" cxnId="{D8B48AB1-DCB6-45C6-B617-2517F48685E5}">
      <dgm:prSet/>
      <dgm:spPr/>
      <dgm:t>
        <a:bodyPr/>
        <a:lstStyle/>
        <a:p>
          <a:endParaRPr lang="en-US"/>
        </a:p>
      </dgm:t>
    </dgm:pt>
    <dgm:pt modelId="{647C4F66-C474-4A91-BFBF-C691FFC11A01}" type="sibTrans" cxnId="{D8B48AB1-DCB6-45C6-B617-2517F48685E5}">
      <dgm:prSet/>
      <dgm:spPr/>
      <dgm:t>
        <a:bodyPr/>
        <a:lstStyle/>
        <a:p>
          <a:endParaRPr lang="en-US"/>
        </a:p>
      </dgm:t>
    </dgm:pt>
    <dgm:pt modelId="{86C0EAE5-E8A0-4299-9F1C-666923A332E6}">
      <dgm:prSet phldrT="[Text]"/>
      <dgm:spPr/>
      <dgm:t>
        <a:bodyPr/>
        <a:lstStyle/>
        <a:p>
          <a:r>
            <a:rPr lang="en-MY" smtClean="0"/>
            <a:t>Standard Curriculum for Primary School (KSSR)</a:t>
          </a:r>
          <a:endParaRPr lang="en-US"/>
        </a:p>
      </dgm:t>
    </dgm:pt>
    <dgm:pt modelId="{BE279D33-4A5B-49AC-AE3D-616146705E8C}" type="parTrans" cxnId="{C699974D-97C2-4914-B5F6-3FB1D8E5C759}">
      <dgm:prSet/>
      <dgm:spPr/>
      <dgm:t>
        <a:bodyPr/>
        <a:lstStyle/>
        <a:p>
          <a:endParaRPr lang="en-US"/>
        </a:p>
      </dgm:t>
    </dgm:pt>
    <dgm:pt modelId="{A1B7748E-FCF7-405C-9123-9806631CD70C}" type="sibTrans" cxnId="{C699974D-97C2-4914-B5F6-3FB1D8E5C759}">
      <dgm:prSet/>
      <dgm:spPr/>
      <dgm:t>
        <a:bodyPr/>
        <a:lstStyle/>
        <a:p>
          <a:endParaRPr lang="en-US"/>
        </a:p>
      </dgm:t>
    </dgm:pt>
    <dgm:pt modelId="{E86D20A6-5F04-4392-9C58-A31CB3E58CE5}" type="pres">
      <dgm:prSet presAssocID="{FD604DF1-098D-4D80-9351-791069FCD3D2}" presName="CompostProcess" presStyleCnt="0">
        <dgm:presLayoutVars>
          <dgm:dir/>
          <dgm:resizeHandles val="exact"/>
        </dgm:presLayoutVars>
      </dgm:prSet>
      <dgm:spPr/>
    </dgm:pt>
    <dgm:pt modelId="{24C49BCB-1DC2-4F44-A730-5DA236B8B30C}" type="pres">
      <dgm:prSet presAssocID="{FD604DF1-098D-4D80-9351-791069FCD3D2}" presName="arrow" presStyleLbl="bgShp" presStyleIdx="0" presStyleCnt="1" custLinFactNeighborX="4971" custLinFactNeighborY="-25799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CB623F1-9901-42A5-BBA4-F6854F3EBB06}" type="pres">
      <dgm:prSet presAssocID="{FD604DF1-098D-4D80-9351-791069FCD3D2}" presName="linearProcess" presStyleCnt="0"/>
      <dgm:spPr/>
    </dgm:pt>
    <dgm:pt modelId="{1E3A59C6-0DF0-4C77-BFF7-58BE4EC6A43D}" type="pres">
      <dgm:prSet presAssocID="{C9F973E7-727D-48DE-8A92-26D42D400D82}" presName="text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8139C36-53B7-4948-A813-3CE2EC11307F}" type="pres">
      <dgm:prSet presAssocID="{647C4F66-C474-4A91-BFBF-C691FFC11A01}" presName="sibTrans" presStyleCnt="0"/>
      <dgm:spPr/>
    </dgm:pt>
    <dgm:pt modelId="{B0EAE1C4-5D96-41AF-B9D9-746FE6CE9172}" type="pres">
      <dgm:prSet presAssocID="{86C0EAE5-E8A0-4299-9F1C-666923A332E6}" presName="text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2777082-827E-446D-B73E-79D1F040B3AA}" type="presOf" srcId="{86C0EAE5-E8A0-4299-9F1C-666923A332E6}" destId="{B0EAE1C4-5D96-41AF-B9D9-746FE6CE9172}" srcOrd="0" destOrd="0" presId="urn:microsoft.com/office/officeart/2005/8/layout/hProcess9"/>
    <dgm:cxn modelId="{C699974D-97C2-4914-B5F6-3FB1D8E5C759}" srcId="{FD604DF1-098D-4D80-9351-791069FCD3D2}" destId="{86C0EAE5-E8A0-4299-9F1C-666923A332E6}" srcOrd="1" destOrd="0" parTransId="{BE279D33-4A5B-49AC-AE3D-616146705E8C}" sibTransId="{A1B7748E-FCF7-405C-9123-9806631CD70C}"/>
    <dgm:cxn modelId="{D8B48AB1-DCB6-45C6-B617-2517F48685E5}" srcId="{FD604DF1-098D-4D80-9351-791069FCD3D2}" destId="{C9F973E7-727D-48DE-8A92-26D42D400D82}" srcOrd="0" destOrd="0" parTransId="{57A4248A-54D5-4D30-819B-553A114DDC22}" sibTransId="{647C4F66-C474-4A91-BFBF-C691FFC11A01}"/>
    <dgm:cxn modelId="{EF5D5F28-E7B1-47C1-ADBC-71969917E339}" type="presOf" srcId="{C9F973E7-727D-48DE-8A92-26D42D400D82}" destId="{1E3A59C6-0DF0-4C77-BFF7-58BE4EC6A43D}" srcOrd="0" destOrd="0" presId="urn:microsoft.com/office/officeart/2005/8/layout/hProcess9"/>
    <dgm:cxn modelId="{50978038-33A8-4B9C-96E9-75317D1AC159}" type="presOf" srcId="{FD604DF1-098D-4D80-9351-791069FCD3D2}" destId="{E86D20A6-5F04-4392-9C58-A31CB3E58CE5}" srcOrd="0" destOrd="0" presId="urn:microsoft.com/office/officeart/2005/8/layout/hProcess9"/>
    <dgm:cxn modelId="{25CB1CBC-3699-4E48-988C-4FE3F7EC6650}" type="presParOf" srcId="{E86D20A6-5F04-4392-9C58-A31CB3E58CE5}" destId="{24C49BCB-1DC2-4F44-A730-5DA236B8B30C}" srcOrd="0" destOrd="0" presId="urn:microsoft.com/office/officeart/2005/8/layout/hProcess9"/>
    <dgm:cxn modelId="{662AEA52-47B5-4B6C-98C2-4E8E0372CDA2}" type="presParOf" srcId="{E86D20A6-5F04-4392-9C58-A31CB3E58CE5}" destId="{DCB623F1-9901-42A5-BBA4-F6854F3EBB06}" srcOrd="1" destOrd="0" presId="urn:microsoft.com/office/officeart/2005/8/layout/hProcess9"/>
    <dgm:cxn modelId="{CF03459F-502A-46DE-8896-7F3E491ABAB5}" type="presParOf" srcId="{DCB623F1-9901-42A5-BBA4-F6854F3EBB06}" destId="{1E3A59C6-0DF0-4C77-BFF7-58BE4EC6A43D}" srcOrd="0" destOrd="0" presId="urn:microsoft.com/office/officeart/2005/8/layout/hProcess9"/>
    <dgm:cxn modelId="{4422A127-FCC9-488D-8668-1954754553B5}" type="presParOf" srcId="{DCB623F1-9901-42A5-BBA4-F6854F3EBB06}" destId="{88139C36-53B7-4948-A813-3CE2EC11307F}" srcOrd="1" destOrd="0" presId="urn:microsoft.com/office/officeart/2005/8/layout/hProcess9"/>
    <dgm:cxn modelId="{F686D5E5-BF92-46FA-8F9B-14A6690C265C}" type="presParOf" srcId="{DCB623F1-9901-42A5-BBA4-F6854F3EBB06}" destId="{B0EAE1C4-5D96-41AF-B9D9-746FE6CE9172}" srcOrd="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BCF9A8-6284-4185-87C8-D10FA05402B3}" type="doc">
      <dgm:prSet loTypeId="urn:microsoft.com/office/officeart/2005/8/layout/radial5" loCatId="cycle" qsTypeId="urn:microsoft.com/office/officeart/2005/8/quickstyle/3d5" qsCatId="3D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4F60E44-0657-4565-9F08-1CA113AEBBD8}">
      <dgm:prSet phldrT="[Text]" custT="1"/>
      <dgm:spPr/>
      <dgm:t>
        <a:bodyPr/>
        <a:lstStyle/>
        <a:p>
          <a:r>
            <a:rPr lang="en-MY" sz="2000" smtClean="0"/>
            <a:t>Standards </a:t>
          </a:r>
          <a:r>
            <a:rPr lang="en-MY" sz="2000" smtClean="0"/>
            <a:t>Document</a:t>
          </a:r>
          <a:endParaRPr lang="en-US" sz="2000"/>
        </a:p>
      </dgm:t>
    </dgm:pt>
    <dgm:pt modelId="{332A862B-ABD4-4314-81C3-3375E126D8E5}" type="parTrans" cxnId="{4C463EEC-5E8D-43A6-A796-9A73F3424288}">
      <dgm:prSet/>
      <dgm:spPr/>
      <dgm:t>
        <a:bodyPr/>
        <a:lstStyle/>
        <a:p>
          <a:endParaRPr lang="en-US"/>
        </a:p>
      </dgm:t>
    </dgm:pt>
    <dgm:pt modelId="{625CF060-49ED-49DA-B236-102C31C8FD04}" type="sibTrans" cxnId="{4C463EEC-5E8D-43A6-A796-9A73F3424288}">
      <dgm:prSet/>
      <dgm:spPr/>
      <dgm:t>
        <a:bodyPr/>
        <a:lstStyle/>
        <a:p>
          <a:endParaRPr lang="en-US"/>
        </a:p>
      </dgm:t>
    </dgm:pt>
    <dgm:pt modelId="{A9FE6D3E-BBA9-4A6A-8B6A-E9DA9CDA0CEE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Text book</a:t>
          </a:r>
          <a:endParaRPr lang="en-US" sz="1800">
            <a:solidFill>
              <a:schemeClr val="tx1"/>
            </a:solidFill>
          </a:endParaRPr>
        </a:p>
      </dgm:t>
    </dgm:pt>
    <dgm:pt modelId="{AEDEA5A2-0F80-41B8-92B5-6155213DBB5C}" type="parTrans" cxnId="{FF492C30-4A31-4D70-9F03-2C1008C057FA}">
      <dgm:prSet/>
      <dgm:spPr/>
      <dgm:t>
        <a:bodyPr/>
        <a:lstStyle/>
        <a:p>
          <a:endParaRPr lang="en-US"/>
        </a:p>
      </dgm:t>
    </dgm:pt>
    <dgm:pt modelId="{7C4DD612-A744-4F9A-9F69-10E8D9A8F4FB}" type="sibTrans" cxnId="{FF492C30-4A31-4D70-9F03-2C1008C057FA}">
      <dgm:prSet/>
      <dgm:spPr/>
      <dgm:t>
        <a:bodyPr/>
        <a:lstStyle/>
        <a:p>
          <a:endParaRPr lang="en-US"/>
        </a:p>
      </dgm:t>
    </dgm:pt>
    <dgm:pt modelId="{CADCE532-47BA-4CD3-99DD-6C42987769F4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Assessment</a:t>
          </a:r>
          <a:endParaRPr lang="en-US" sz="1800">
            <a:solidFill>
              <a:schemeClr val="tx1"/>
            </a:solidFill>
          </a:endParaRPr>
        </a:p>
      </dgm:t>
    </dgm:pt>
    <dgm:pt modelId="{8D4F63D7-D263-45B3-96D9-E0FC5A3F7AAE}" type="parTrans" cxnId="{302BC7A9-BFFF-4610-86B2-62391D6535B4}">
      <dgm:prSet/>
      <dgm:spPr/>
      <dgm:t>
        <a:bodyPr/>
        <a:lstStyle/>
        <a:p>
          <a:endParaRPr lang="en-US"/>
        </a:p>
      </dgm:t>
    </dgm:pt>
    <dgm:pt modelId="{4E34BA98-5A9D-45F1-891D-400122658DA3}" type="sibTrans" cxnId="{302BC7A9-BFFF-4610-86B2-62391D6535B4}">
      <dgm:prSet/>
      <dgm:spPr/>
      <dgm:t>
        <a:bodyPr/>
        <a:lstStyle/>
        <a:p>
          <a:endParaRPr lang="en-US"/>
        </a:p>
      </dgm:t>
    </dgm:pt>
    <dgm:pt modelId="{999B3EAC-065E-4E04-9FB5-A7B2F8C7CF55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Learning Modules</a:t>
          </a:r>
          <a:endParaRPr lang="en-US" sz="1800">
            <a:solidFill>
              <a:schemeClr val="tx1"/>
            </a:solidFill>
          </a:endParaRPr>
        </a:p>
      </dgm:t>
    </dgm:pt>
    <dgm:pt modelId="{4BB393D0-523C-4F0D-BD31-659FE44314CC}" type="parTrans" cxnId="{E45073FD-BE6E-462A-A602-FA645A8CF48E}">
      <dgm:prSet/>
      <dgm:spPr/>
      <dgm:t>
        <a:bodyPr/>
        <a:lstStyle/>
        <a:p>
          <a:endParaRPr lang="en-US"/>
        </a:p>
      </dgm:t>
    </dgm:pt>
    <dgm:pt modelId="{A57598EE-C643-4D4D-9E1F-2E55B26625F0}" type="sibTrans" cxnId="{E45073FD-BE6E-462A-A602-FA645A8CF48E}">
      <dgm:prSet/>
      <dgm:spPr/>
      <dgm:t>
        <a:bodyPr/>
        <a:lstStyle/>
        <a:p>
          <a:endParaRPr lang="en-US"/>
        </a:p>
      </dgm:t>
    </dgm:pt>
    <dgm:pt modelId="{05736F70-5663-4A53-82C9-95777B0BD223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Teacher Training</a:t>
          </a:r>
          <a:endParaRPr lang="en-US" sz="1800">
            <a:solidFill>
              <a:schemeClr val="tx1"/>
            </a:solidFill>
          </a:endParaRPr>
        </a:p>
      </dgm:t>
    </dgm:pt>
    <dgm:pt modelId="{8BAB79BA-C5F7-4F83-AB61-099AE3071512}" type="parTrans" cxnId="{D0CA805E-B22C-4FFF-9B48-4E6832358546}">
      <dgm:prSet/>
      <dgm:spPr/>
      <dgm:t>
        <a:bodyPr/>
        <a:lstStyle/>
        <a:p>
          <a:endParaRPr lang="en-US"/>
        </a:p>
      </dgm:t>
    </dgm:pt>
    <dgm:pt modelId="{BB54DDBE-63F6-4997-8129-2402BFF3759C}" type="sibTrans" cxnId="{D0CA805E-B22C-4FFF-9B48-4E6832358546}">
      <dgm:prSet/>
      <dgm:spPr/>
      <dgm:t>
        <a:bodyPr/>
        <a:lstStyle/>
        <a:p>
          <a:endParaRPr lang="en-US"/>
        </a:p>
      </dgm:t>
    </dgm:pt>
    <dgm:pt modelId="{183AE564-7C5A-4487-BB78-4F5ED6BD6C78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Referrence books</a:t>
          </a:r>
          <a:endParaRPr lang="en-US" sz="1800">
            <a:solidFill>
              <a:schemeClr val="tx1"/>
            </a:solidFill>
          </a:endParaRPr>
        </a:p>
      </dgm:t>
    </dgm:pt>
    <dgm:pt modelId="{9D81C42A-A794-461C-AD32-4726F1055D18}" type="parTrans" cxnId="{8BE7DBC1-0BCC-4899-87F1-9E696B940012}">
      <dgm:prSet/>
      <dgm:spPr/>
      <dgm:t>
        <a:bodyPr/>
        <a:lstStyle/>
        <a:p>
          <a:endParaRPr lang="en-US"/>
        </a:p>
      </dgm:t>
    </dgm:pt>
    <dgm:pt modelId="{E63D8A0B-3BDE-4982-96CA-4A0DC49EE1E6}" type="sibTrans" cxnId="{8BE7DBC1-0BCC-4899-87F1-9E696B940012}">
      <dgm:prSet/>
      <dgm:spPr/>
      <dgm:t>
        <a:bodyPr/>
        <a:lstStyle/>
        <a:p>
          <a:endParaRPr lang="en-US"/>
        </a:p>
      </dgm:t>
    </dgm:pt>
    <dgm:pt modelId="{21FDC289-2150-49DB-9678-36755D0C3BF5}">
      <dgm:prSet phldrT="[Text]" custT="1"/>
      <dgm:spPr/>
      <dgm:t>
        <a:bodyPr/>
        <a:lstStyle/>
        <a:p>
          <a:r>
            <a:rPr lang="en-MY" sz="1800" smtClean="0">
              <a:solidFill>
                <a:schemeClr val="tx1"/>
              </a:solidFill>
            </a:rPr>
            <a:t>Classroom</a:t>
          </a:r>
          <a:endParaRPr lang="en-US" sz="1800">
            <a:solidFill>
              <a:schemeClr val="tx1"/>
            </a:solidFill>
          </a:endParaRPr>
        </a:p>
      </dgm:t>
    </dgm:pt>
    <dgm:pt modelId="{3FE2A426-4307-45C2-BE13-5F12D1089DE2}" type="parTrans" cxnId="{2D816B99-A823-49FF-B8FF-555AEEDFB1AA}">
      <dgm:prSet/>
      <dgm:spPr/>
      <dgm:t>
        <a:bodyPr/>
        <a:lstStyle/>
        <a:p>
          <a:endParaRPr lang="en-US"/>
        </a:p>
      </dgm:t>
    </dgm:pt>
    <dgm:pt modelId="{40FD8713-C21D-46E6-ACAD-AE655C52A330}" type="sibTrans" cxnId="{2D816B99-A823-49FF-B8FF-555AEEDFB1AA}">
      <dgm:prSet/>
      <dgm:spPr/>
      <dgm:t>
        <a:bodyPr/>
        <a:lstStyle/>
        <a:p>
          <a:endParaRPr lang="en-US"/>
        </a:p>
      </dgm:t>
    </dgm:pt>
    <dgm:pt modelId="{9059AB7F-CE79-434E-8133-6B6B08333469}" type="pres">
      <dgm:prSet presAssocID="{5FBCF9A8-6284-4185-87C8-D10FA05402B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E7D1FBD-63C8-4813-B22C-5FF98F0CAAEF}" type="pres">
      <dgm:prSet presAssocID="{F4F60E44-0657-4565-9F08-1CA113AEBBD8}" presName="centerShape" presStyleLbl="node0" presStyleIdx="0" presStyleCnt="1" custScaleX="116845" custScaleY="115206"/>
      <dgm:spPr/>
      <dgm:t>
        <a:bodyPr/>
        <a:lstStyle/>
        <a:p>
          <a:endParaRPr lang="en-US"/>
        </a:p>
      </dgm:t>
    </dgm:pt>
    <dgm:pt modelId="{683A2662-D491-4025-8979-D44C1FD87E31}" type="pres">
      <dgm:prSet presAssocID="{AEDEA5A2-0F80-41B8-92B5-6155213DBB5C}" presName="parTrans" presStyleLbl="sibTrans2D1" presStyleIdx="0" presStyleCnt="6"/>
      <dgm:spPr/>
      <dgm:t>
        <a:bodyPr/>
        <a:lstStyle/>
        <a:p>
          <a:endParaRPr lang="en-US"/>
        </a:p>
      </dgm:t>
    </dgm:pt>
    <dgm:pt modelId="{A2302C50-8B2C-4874-A630-94EA08AC99CE}" type="pres">
      <dgm:prSet presAssocID="{AEDEA5A2-0F80-41B8-92B5-6155213DBB5C}" presName="connectorText" presStyleLbl="sibTrans2D1" presStyleIdx="0" presStyleCnt="6"/>
      <dgm:spPr/>
      <dgm:t>
        <a:bodyPr/>
        <a:lstStyle/>
        <a:p>
          <a:endParaRPr lang="en-US"/>
        </a:p>
      </dgm:t>
    </dgm:pt>
    <dgm:pt modelId="{85B93CEB-7A74-41B4-A383-D76752F216F3}" type="pres">
      <dgm:prSet presAssocID="{A9FE6D3E-BBA9-4A6A-8B6A-E9DA9CDA0CEE}" presName="node" presStyleLbl="node1" presStyleIdx="0" presStyleCnt="6" custScaleX="116845" custScaleY="1152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3368A16-3781-4402-9ED3-A6D35733C4D7}" type="pres">
      <dgm:prSet presAssocID="{8D4F63D7-D263-45B3-96D9-E0FC5A3F7AAE}" presName="parTrans" presStyleLbl="sibTrans2D1" presStyleIdx="1" presStyleCnt="6"/>
      <dgm:spPr/>
      <dgm:t>
        <a:bodyPr/>
        <a:lstStyle/>
        <a:p>
          <a:endParaRPr lang="en-US"/>
        </a:p>
      </dgm:t>
    </dgm:pt>
    <dgm:pt modelId="{2926B09D-4B19-4815-BA5A-A9F8523DE9CB}" type="pres">
      <dgm:prSet presAssocID="{8D4F63D7-D263-45B3-96D9-E0FC5A3F7AAE}" presName="connectorText" presStyleLbl="sibTrans2D1" presStyleIdx="1" presStyleCnt="6"/>
      <dgm:spPr/>
      <dgm:t>
        <a:bodyPr/>
        <a:lstStyle/>
        <a:p>
          <a:endParaRPr lang="en-US"/>
        </a:p>
      </dgm:t>
    </dgm:pt>
    <dgm:pt modelId="{CD557C78-B273-4119-A20B-F7D8EFE1438C}" type="pres">
      <dgm:prSet presAssocID="{CADCE532-47BA-4CD3-99DD-6C42987769F4}" presName="node" presStyleLbl="node1" presStyleIdx="1" presStyleCnt="6" custScaleX="116845" custScaleY="1152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F8022EB-3AB3-49D1-9DF9-7C36E0A70047}" type="pres">
      <dgm:prSet presAssocID="{4BB393D0-523C-4F0D-BD31-659FE44314CC}" presName="parTrans" presStyleLbl="sibTrans2D1" presStyleIdx="2" presStyleCnt="6"/>
      <dgm:spPr/>
      <dgm:t>
        <a:bodyPr/>
        <a:lstStyle/>
        <a:p>
          <a:endParaRPr lang="en-US"/>
        </a:p>
      </dgm:t>
    </dgm:pt>
    <dgm:pt modelId="{0B8E664A-2708-4A96-B604-8BC48CFCD586}" type="pres">
      <dgm:prSet presAssocID="{4BB393D0-523C-4F0D-BD31-659FE44314CC}" presName="connectorText" presStyleLbl="sibTrans2D1" presStyleIdx="2" presStyleCnt="6"/>
      <dgm:spPr/>
      <dgm:t>
        <a:bodyPr/>
        <a:lstStyle/>
        <a:p>
          <a:endParaRPr lang="en-US"/>
        </a:p>
      </dgm:t>
    </dgm:pt>
    <dgm:pt modelId="{D02DA4DF-2592-4DC7-B13A-058CA9FAD952}" type="pres">
      <dgm:prSet presAssocID="{999B3EAC-065E-4E04-9FB5-A7B2F8C7CF55}" presName="node" presStyleLbl="node1" presStyleIdx="2" presStyleCnt="6" custScaleX="116845" custScaleY="1152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3BE370-9A8E-4550-A4FD-6D94CD751AE1}" type="pres">
      <dgm:prSet presAssocID="{8BAB79BA-C5F7-4F83-AB61-099AE3071512}" presName="parTrans" presStyleLbl="sibTrans2D1" presStyleIdx="3" presStyleCnt="6"/>
      <dgm:spPr/>
      <dgm:t>
        <a:bodyPr/>
        <a:lstStyle/>
        <a:p>
          <a:endParaRPr lang="en-US"/>
        </a:p>
      </dgm:t>
    </dgm:pt>
    <dgm:pt modelId="{5694DB0A-4A4E-4984-B0C9-838875CE79DA}" type="pres">
      <dgm:prSet presAssocID="{8BAB79BA-C5F7-4F83-AB61-099AE3071512}" presName="connectorText" presStyleLbl="sibTrans2D1" presStyleIdx="3" presStyleCnt="6"/>
      <dgm:spPr/>
      <dgm:t>
        <a:bodyPr/>
        <a:lstStyle/>
        <a:p>
          <a:endParaRPr lang="en-US"/>
        </a:p>
      </dgm:t>
    </dgm:pt>
    <dgm:pt modelId="{53D03370-9B76-457F-BDAE-E7DA0FE2A33F}" type="pres">
      <dgm:prSet presAssocID="{05736F70-5663-4A53-82C9-95777B0BD223}" presName="node" presStyleLbl="node1" presStyleIdx="3" presStyleCnt="6" custScaleX="116845" custScaleY="1152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3D6479-EB01-4CCE-96CD-A236648C463A}" type="pres">
      <dgm:prSet presAssocID="{9D81C42A-A794-461C-AD32-4726F1055D18}" presName="parTrans" presStyleLbl="sibTrans2D1" presStyleIdx="4" presStyleCnt="6"/>
      <dgm:spPr/>
      <dgm:t>
        <a:bodyPr/>
        <a:lstStyle/>
        <a:p>
          <a:endParaRPr lang="en-US"/>
        </a:p>
      </dgm:t>
    </dgm:pt>
    <dgm:pt modelId="{99184056-9C6B-4570-AD45-868DE0D2C29A}" type="pres">
      <dgm:prSet presAssocID="{9D81C42A-A794-461C-AD32-4726F1055D18}" presName="connectorText" presStyleLbl="sibTrans2D1" presStyleIdx="4" presStyleCnt="6"/>
      <dgm:spPr/>
      <dgm:t>
        <a:bodyPr/>
        <a:lstStyle/>
        <a:p>
          <a:endParaRPr lang="en-US"/>
        </a:p>
      </dgm:t>
    </dgm:pt>
    <dgm:pt modelId="{5AB6DE28-ABB2-4E46-9116-05F8518E4BB2}" type="pres">
      <dgm:prSet presAssocID="{183AE564-7C5A-4487-BB78-4F5ED6BD6C78}" presName="node" presStyleLbl="node1" presStyleIdx="4" presStyleCnt="6" custScaleX="116845" custScaleY="11520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A38714-88A7-4503-8371-6A9416555008}" type="pres">
      <dgm:prSet presAssocID="{3FE2A426-4307-45C2-BE13-5F12D1089DE2}" presName="parTrans" presStyleLbl="sibTrans2D1" presStyleIdx="5" presStyleCnt="6"/>
      <dgm:spPr/>
      <dgm:t>
        <a:bodyPr/>
        <a:lstStyle/>
        <a:p>
          <a:endParaRPr lang="en-US"/>
        </a:p>
      </dgm:t>
    </dgm:pt>
    <dgm:pt modelId="{60797A74-D473-499A-AD76-727BE971C44B}" type="pres">
      <dgm:prSet presAssocID="{3FE2A426-4307-45C2-BE13-5F12D1089DE2}" presName="connectorText" presStyleLbl="sibTrans2D1" presStyleIdx="5" presStyleCnt="6"/>
      <dgm:spPr/>
      <dgm:t>
        <a:bodyPr/>
        <a:lstStyle/>
        <a:p>
          <a:endParaRPr lang="en-US"/>
        </a:p>
      </dgm:t>
    </dgm:pt>
    <dgm:pt modelId="{AC9D104F-9D90-46A1-B589-88A9CAC1C78C}" type="pres">
      <dgm:prSet presAssocID="{21FDC289-2150-49DB-9678-36755D0C3BF5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10D6AC8-EB8F-437F-97BD-51AEE5489AD0}" type="presOf" srcId="{8D4F63D7-D263-45B3-96D9-E0FC5A3F7AAE}" destId="{13368A16-3781-4402-9ED3-A6D35733C4D7}" srcOrd="0" destOrd="0" presId="urn:microsoft.com/office/officeart/2005/8/layout/radial5"/>
    <dgm:cxn modelId="{B68353C6-802D-482B-BF1A-656008F3BA26}" type="presOf" srcId="{8BAB79BA-C5F7-4F83-AB61-099AE3071512}" destId="{233BE370-9A8E-4550-A4FD-6D94CD751AE1}" srcOrd="0" destOrd="0" presId="urn:microsoft.com/office/officeart/2005/8/layout/radial5"/>
    <dgm:cxn modelId="{697ECD6C-02E3-4E23-A74A-A531EB5A76ED}" type="presOf" srcId="{05736F70-5663-4A53-82C9-95777B0BD223}" destId="{53D03370-9B76-457F-BDAE-E7DA0FE2A33F}" srcOrd="0" destOrd="0" presId="urn:microsoft.com/office/officeart/2005/8/layout/radial5"/>
    <dgm:cxn modelId="{B20C998D-4547-4E49-85E8-B292C1A670F4}" type="presOf" srcId="{9D81C42A-A794-461C-AD32-4726F1055D18}" destId="{5F3D6479-EB01-4CCE-96CD-A236648C463A}" srcOrd="0" destOrd="0" presId="urn:microsoft.com/office/officeart/2005/8/layout/radial5"/>
    <dgm:cxn modelId="{17DF1DAF-3228-432A-8D3E-72CEFB660ECC}" type="presOf" srcId="{8BAB79BA-C5F7-4F83-AB61-099AE3071512}" destId="{5694DB0A-4A4E-4984-B0C9-838875CE79DA}" srcOrd="1" destOrd="0" presId="urn:microsoft.com/office/officeart/2005/8/layout/radial5"/>
    <dgm:cxn modelId="{9BD2DFFC-8710-4AC1-8670-C181C2E0B14E}" type="presOf" srcId="{AEDEA5A2-0F80-41B8-92B5-6155213DBB5C}" destId="{683A2662-D491-4025-8979-D44C1FD87E31}" srcOrd="0" destOrd="0" presId="urn:microsoft.com/office/officeart/2005/8/layout/radial5"/>
    <dgm:cxn modelId="{B8C2DBC4-0239-4A14-B9D2-A55DD0DFF7D5}" type="presOf" srcId="{21FDC289-2150-49DB-9678-36755D0C3BF5}" destId="{AC9D104F-9D90-46A1-B589-88A9CAC1C78C}" srcOrd="0" destOrd="0" presId="urn:microsoft.com/office/officeart/2005/8/layout/radial5"/>
    <dgm:cxn modelId="{2D816B99-A823-49FF-B8FF-555AEEDFB1AA}" srcId="{F4F60E44-0657-4565-9F08-1CA113AEBBD8}" destId="{21FDC289-2150-49DB-9678-36755D0C3BF5}" srcOrd="5" destOrd="0" parTransId="{3FE2A426-4307-45C2-BE13-5F12D1089DE2}" sibTransId="{40FD8713-C21D-46E6-ACAD-AE655C52A330}"/>
    <dgm:cxn modelId="{D0CA805E-B22C-4FFF-9B48-4E6832358546}" srcId="{F4F60E44-0657-4565-9F08-1CA113AEBBD8}" destId="{05736F70-5663-4A53-82C9-95777B0BD223}" srcOrd="3" destOrd="0" parTransId="{8BAB79BA-C5F7-4F83-AB61-099AE3071512}" sibTransId="{BB54DDBE-63F6-4997-8129-2402BFF3759C}"/>
    <dgm:cxn modelId="{C96D375D-8944-4C4B-85BA-5EEA4E97B2B6}" type="presOf" srcId="{4BB393D0-523C-4F0D-BD31-659FE44314CC}" destId="{0B8E664A-2708-4A96-B604-8BC48CFCD586}" srcOrd="1" destOrd="0" presId="urn:microsoft.com/office/officeart/2005/8/layout/radial5"/>
    <dgm:cxn modelId="{EFE302FA-8AB6-44D5-8E26-82FF87E77E2E}" type="presOf" srcId="{4BB393D0-523C-4F0D-BD31-659FE44314CC}" destId="{2F8022EB-3AB3-49D1-9DF9-7C36E0A70047}" srcOrd="0" destOrd="0" presId="urn:microsoft.com/office/officeart/2005/8/layout/radial5"/>
    <dgm:cxn modelId="{1C51CB42-8AF6-4F3E-BA62-295AE5D8523A}" type="presOf" srcId="{5FBCF9A8-6284-4185-87C8-D10FA05402B3}" destId="{9059AB7F-CE79-434E-8133-6B6B08333469}" srcOrd="0" destOrd="0" presId="urn:microsoft.com/office/officeart/2005/8/layout/radial5"/>
    <dgm:cxn modelId="{FF492C30-4A31-4D70-9F03-2C1008C057FA}" srcId="{F4F60E44-0657-4565-9F08-1CA113AEBBD8}" destId="{A9FE6D3E-BBA9-4A6A-8B6A-E9DA9CDA0CEE}" srcOrd="0" destOrd="0" parTransId="{AEDEA5A2-0F80-41B8-92B5-6155213DBB5C}" sibTransId="{7C4DD612-A744-4F9A-9F69-10E8D9A8F4FB}"/>
    <dgm:cxn modelId="{CAF0A15E-26E8-41B0-972A-B2D7E1FBEA52}" type="presOf" srcId="{AEDEA5A2-0F80-41B8-92B5-6155213DBB5C}" destId="{A2302C50-8B2C-4874-A630-94EA08AC99CE}" srcOrd="1" destOrd="0" presId="urn:microsoft.com/office/officeart/2005/8/layout/radial5"/>
    <dgm:cxn modelId="{824070D3-05CD-4C65-AD9D-6A0EB50F7511}" type="presOf" srcId="{3FE2A426-4307-45C2-BE13-5F12D1089DE2}" destId="{60797A74-D473-499A-AD76-727BE971C44B}" srcOrd="1" destOrd="0" presId="urn:microsoft.com/office/officeart/2005/8/layout/radial5"/>
    <dgm:cxn modelId="{B645D276-9EC6-400C-8B2A-C9DA6DB5E731}" type="presOf" srcId="{183AE564-7C5A-4487-BB78-4F5ED6BD6C78}" destId="{5AB6DE28-ABB2-4E46-9116-05F8518E4BB2}" srcOrd="0" destOrd="0" presId="urn:microsoft.com/office/officeart/2005/8/layout/radial5"/>
    <dgm:cxn modelId="{E45073FD-BE6E-462A-A602-FA645A8CF48E}" srcId="{F4F60E44-0657-4565-9F08-1CA113AEBBD8}" destId="{999B3EAC-065E-4E04-9FB5-A7B2F8C7CF55}" srcOrd="2" destOrd="0" parTransId="{4BB393D0-523C-4F0D-BD31-659FE44314CC}" sibTransId="{A57598EE-C643-4D4D-9E1F-2E55B26625F0}"/>
    <dgm:cxn modelId="{01D29C40-323D-4FDC-B8B0-412FD18A5969}" type="presOf" srcId="{A9FE6D3E-BBA9-4A6A-8B6A-E9DA9CDA0CEE}" destId="{85B93CEB-7A74-41B4-A383-D76752F216F3}" srcOrd="0" destOrd="0" presId="urn:microsoft.com/office/officeart/2005/8/layout/radial5"/>
    <dgm:cxn modelId="{5916EA2D-15F6-4ADD-835A-0A683D38F7AA}" type="presOf" srcId="{999B3EAC-065E-4E04-9FB5-A7B2F8C7CF55}" destId="{D02DA4DF-2592-4DC7-B13A-058CA9FAD952}" srcOrd="0" destOrd="0" presId="urn:microsoft.com/office/officeart/2005/8/layout/radial5"/>
    <dgm:cxn modelId="{9A2CD129-EBA9-4027-8493-F16629580863}" type="presOf" srcId="{3FE2A426-4307-45C2-BE13-5F12D1089DE2}" destId="{2DA38714-88A7-4503-8371-6A9416555008}" srcOrd="0" destOrd="0" presId="urn:microsoft.com/office/officeart/2005/8/layout/radial5"/>
    <dgm:cxn modelId="{302BC7A9-BFFF-4610-86B2-62391D6535B4}" srcId="{F4F60E44-0657-4565-9F08-1CA113AEBBD8}" destId="{CADCE532-47BA-4CD3-99DD-6C42987769F4}" srcOrd="1" destOrd="0" parTransId="{8D4F63D7-D263-45B3-96D9-E0FC5A3F7AAE}" sibTransId="{4E34BA98-5A9D-45F1-891D-400122658DA3}"/>
    <dgm:cxn modelId="{71FBD6E9-BAE5-40F8-9574-942DD4B9449C}" type="presOf" srcId="{F4F60E44-0657-4565-9F08-1CA113AEBBD8}" destId="{FE7D1FBD-63C8-4813-B22C-5FF98F0CAAEF}" srcOrd="0" destOrd="0" presId="urn:microsoft.com/office/officeart/2005/8/layout/radial5"/>
    <dgm:cxn modelId="{B4D7662D-1F66-4992-B184-272BBF0B8DBC}" type="presOf" srcId="{9D81C42A-A794-461C-AD32-4726F1055D18}" destId="{99184056-9C6B-4570-AD45-868DE0D2C29A}" srcOrd="1" destOrd="0" presId="urn:microsoft.com/office/officeart/2005/8/layout/radial5"/>
    <dgm:cxn modelId="{27C53535-FC3D-4E0B-90F3-2FC06143FD9A}" type="presOf" srcId="{8D4F63D7-D263-45B3-96D9-E0FC5A3F7AAE}" destId="{2926B09D-4B19-4815-BA5A-A9F8523DE9CB}" srcOrd="1" destOrd="0" presId="urn:microsoft.com/office/officeart/2005/8/layout/radial5"/>
    <dgm:cxn modelId="{8BE7DBC1-0BCC-4899-87F1-9E696B940012}" srcId="{F4F60E44-0657-4565-9F08-1CA113AEBBD8}" destId="{183AE564-7C5A-4487-BB78-4F5ED6BD6C78}" srcOrd="4" destOrd="0" parTransId="{9D81C42A-A794-461C-AD32-4726F1055D18}" sibTransId="{E63D8A0B-3BDE-4982-96CA-4A0DC49EE1E6}"/>
    <dgm:cxn modelId="{85E51E22-10CC-4A56-817E-1F28DD000729}" type="presOf" srcId="{CADCE532-47BA-4CD3-99DD-6C42987769F4}" destId="{CD557C78-B273-4119-A20B-F7D8EFE1438C}" srcOrd="0" destOrd="0" presId="urn:microsoft.com/office/officeart/2005/8/layout/radial5"/>
    <dgm:cxn modelId="{4C463EEC-5E8D-43A6-A796-9A73F3424288}" srcId="{5FBCF9A8-6284-4185-87C8-D10FA05402B3}" destId="{F4F60E44-0657-4565-9F08-1CA113AEBBD8}" srcOrd="0" destOrd="0" parTransId="{332A862B-ABD4-4314-81C3-3375E126D8E5}" sibTransId="{625CF060-49ED-49DA-B236-102C31C8FD04}"/>
    <dgm:cxn modelId="{6F5B1786-CBD7-4D17-8C3D-5ED9D1B51E32}" type="presParOf" srcId="{9059AB7F-CE79-434E-8133-6B6B08333469}" destId="{FE7D1FBD-63C8-4813-B22C-5FF98F0CAAEF}" srcOrd="0" destOrd="0" presId="urn:microsoft.com/office/officeart/2005/8/layout/radial5"/>
    <dgm:cxn modelId="{4D9FE6A9-26BE-4EE1-8F09-F56EACC0772C}" type="presParOf" srcId="{9059AB7F-CE79-434E-8133-6B6B08333469}" destId="{683A2662-D491-4025-8979-D44C1FD87E31}" srcOrd="1" destOrd="0" presId="urn:microsoft.com/office/officeart/2005/8/layout/radial5"/>
    <dgm:cxn modelId="{9DB37E49-83C9-4FF9-9258-7A8418023D09}" type="presParOf" srcId="{683A2662-D491-4025-8979-D44C1FD87E31}" destId="{A2302C50-8B2C-4874-A630-94EA08AC99CE}" srcOrd="0" destOrd="0" presId="urn:microsoft.com/office/officeart/2005/8/layout/radial5"/>
    <dgm:cxn modelId="{14FB36FF-C368-4027-A026-E2CC532E2985}" type="presParOf" srcId="{9059AB7F-CE79-434E-8133-6B6B08333469}" destId="{85B93CEB-7A74-41B4-A383-D76752F216F3}" srcOrd="2" destOrd="0" presId="urn:microsoft.com/office/officeart/2005/8/layout/radial5"/>
    <dgm:cxn modelId="{7BA48A82-A764-4E0D-8EA6-107CC3ADF2ED}" type="presParOf" srcId="{9059AB7F-CE79-434E-8133-6B6B08333469}" destId="{13368A16-3781-4402-9ED3-A6D35733C4D7}" srcOrd="3" destOrd="0" presId="urn:microsoft.com/office/officeart/2005/8/layout/radial5"/>
    <dgm:cxn modelId="{02F78B27-DC23-427E-B09D-4073C7ACEC5A}" type="presParOf" srcId="{13368A16-3781-4402-9ED3-A6D35733C4D7}" destId="{2926B09D-4B19-4815-BA5A-A9F8523DE9CB}" srcOrd="0" destOrd="0" presId="urn:microsoft.com/office/officeart/2005/8/layout/radial5"/>
    <dgm:cxn modelId="{B932F1D9-FD72-483D-9748-39E09DE93B2E}" type="presParOf" srcId="{9059AB7F-CE79-434E-8133-6B6B08333469}" destId="{CD557C78-B273-4119-A20B-F7D8EFE1438C}" srcOrd="4" destOrd="0" presId="urn:microsoft.com/office/officeart/2005/8/layout/radial5"/>
    <dgm:cxn modelId="{5B45B32D-1DD2-4B8E-B449-984BB1C94815}" type="presParOf" srcId="{9059AB7F-CE79-434E-8133-6B6B08333469}" destId="{2F8022EB-3AB3-49D1-9DF9-7C36E0A70047}" srcOrd="5" destOrd="0" presId="urn:microsoft.com/office/officeart/2005/8/layout/radial5"/>
    <dgm:cxn modelId="{C53CD453-806F-483B-9335-CDBF83C00CEE}" type="presParOf" srcId="{2F8022EB-3AB3-49D1-9DF9-7C36E0A70047}" destId="{0B8E664A-2708-4A96-B604-8BC48CFCD586}" srcOrd="0" destOrd="0" presId="urn:microsoft.com/office/officeart/2005/8/layout/radial5"/>
    <dgm:cxn modelId="{02CD521A-01DA-4095-912D-0D3403C4F4F4}" type="presParOf" srcId="{9059AB7F-CE79-434E-8133-6B6B08333469}" destId="{D02DA4DF-2592-4DC7-B13A-058CA9FAD952}" srcOrd="6" destOrd="0" presId="urn:microsoft.com/office/officeart/2005/8/layout/radial5"/>
    <dgm:cxn modelId="{891DD69A-D317-4F1E-9329-FCDCBBC66C19}" type="presParOf" srcId="{9059AB7F-CE79-434E-8133-6B6B08333469}" destId="{233BE370-9A8E-4550-A4FD-6D94CD751AE1}" srcOrd="7" destOrd="0" presId="urn:microsoft.com/office/officeart/2005/8/layout/radial5"/>
    <dgm:cxn modelId="{87137530-349A-48E6-BBE1-B37B58BD63F7}" type="presParOf" srcId="{233BE370-9A8E-4550-A4FD-6D94CD751AE1}" destId="{5694DB0A-4A4E-4984-B0C9-838875CE79DA}" srcOrd="0" destOrd="0" presId="urn:microsoft.com/office/officeart/2005/8/layout/radial5"/>
    <dgm:cxn modelId="{DD73ABC2-F446-4A95-B882-2F8FA4C55353}" type="presParOf" srcId="{9059AB7F-CE79-434E-8133-6B6B08333469}" destId="{53D03370-9B76-457F-BDAE-E7DA0FE2A33F}" srcOrd="8" destOrd="0" presId="urn:microsoft.com/office/officeart/2005/8/layout/radial5"/>
    <dgm:cxn modelId="{5CB816B0-424B-461E-805E-0F6B440369F4}" type="presParOf" srcId="{9059AB7F-CE79-434E-8133-6B6B08333469}" destId="{5F3D6479-EB01-4CCE-96CD-A236648C463A}" srcOrd="9" destOrd="0" presId="urn:microsoft.com/office/officeart/2005/8/layout/radial5"/>
    <dgm:cxn modelId="{1743E56E-D2A1-4F6C-8441-CFE91265D817}" type="presParOf" srcId="{5F3D6479-EB01-4CCE-96CD-A236648C463A}" destId="{99184056-9C6B-4570-AD45-868DE0D2C29A}" srcOrd="0" destOrd="0" presId="urn:microsoft.com/office/officeart/2005/8/layout/radial5"/>
    <dgm:cxn modelId="{E2151874-3F0F-470D-9604-EF757A1A1EFC}" type="presParOf" srcId="{9059AB7F-CE79-434E-8133-6B6B08333469}" destId="{5AB6DE28-ABB2-4E46-9116-05F8518E4BB2}" srcOrd="10" destOrd="0" presId="urn:microsoft.com/office/officeart/2005/8/layout/radial5"/>
    <dgm:cxn modelId="{CF8304A2-1FAD-43DB-AFDC-B1DCD6CB8D6D}" type="presParOf" srcId="{9059AB7F-CE79-434E-8133-6B6B08333469}" destId="{2DA38714-88A7-4503-8371-6A9416555008}" srcOrd="11" destOrd="0" presId="urn:microsoft.com/office/officeart/2005/8/layout/radial5"/>
    <dgm:cxn modelId="{AA15405F-E6F5-424E-9958-C8A9C532381C}" type="presParOf" srcId="{2DA38714-88A7-4503-8371-6A9416555008}" destId="{60797A74-D473-499A-AD76-727BE971C44B}" srcOrd="0" destOrd="0" presId="urn:microsoft.com/office/officeart/2005/8/layout/radial5"/>
    <dgm:cxn modelId="{EC529813-9D98-4D5D-88A2-31981861341B}" type="presParOf" srcId="{9059AB7F-CE79-434E-8133-6B6B08333469}" destId="{AC9D104F-9D90-46A1-B589-88A9CAC1C78C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B45B04F-B742-4D68-AED7-1B981F87D9F2}" type="doc">
      <dgm:prSet loTypeId="urn:microsoft.com/office/officeart/2005/8/layout/hList3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B13B977-0348-4BE3-BABE-AC90946CB3CB}">
      <dgm:prSet phldrT="[Text]"/>
      <dgm:spPr/>
      <dgm:t>
        <a:bodyPr/>
        <a:lstStyle/>
        <a:p>
          <a:r>
            <a:rPr lang="en-MY" smtClean="0"/>
            <a:t>Standard </a:t>
          </a:r>
          <a:r>
            <a:rPr lang="en-MY" smtClean="0"/>
            <a:t>Document</a:t>
          </a:r>
          <a:endParaRPr lang="en-US"/>
        </a:p>
      </dgm:t>
    </dgm:pt>
    <dgm:pt modelId="{CE84E99F-D789-4D30-92DC-B4B203EF0D09}" type="parTrans" cxnId="{87739CA8-41F6-4136-8357-2192ECB3C326}">
      <dgm:prSet/>
      <dgm:spPr/>
      <dgm:t>
        <a:bodyPr/>
        <a:lstStyle/>
        <a:p>
          <a:endParaRPr lang="en-US"/>
        </a:p>
      </dgm:t>
    </dgm:pt>
    <dgm:pt modelId="{19E8C798-B74A-4A4B-8738-D305A7483DDA}" type="sibTrans" cxnId="{87739CA8-41F6-4136-8357-2192ECB3C326}">
      <dgm:prSet/>
      <dgm:spPr/>
      <dgm:t>
        <a:bodyPr/>
        <a:lstStyle/>
        <a:p>
          <a:endParaRPr lang="en-US"/>
        </a:p>
      </dgm:t>
    </dgm:pt>
    <dgm:pt modelId="{83E38DD2-F611-4CA6-967A-FFAAB35A1E72}">
      <dgm:prSet phldrT="[Text]"/>
      <dgm:spPr/>
      <dgm:t>
        <a:bodyPr/>
        <a:lstStyle/>
        <a:p>
          <a:r>
            <a:rPr lang="en-MY" smtClean="0"/>
            <a:t>Content Standards</a:t>
          </a:r>
          <a:endParaRPr lang="en-US"/>
        </a:p>
      </dgm:t>
    </dgm:pt>
    <dgm:pt modelId="{61EAC8AE-649E-442A-95D5-85B43C5E56CA}" type="parTrans" cxnId="{71698C88-9360-4C32-80DF-4C9E1F8128F1}">
      <dgm:prSet/>
      <dgm:spPr/>
      <dgm:t>
        <a:bodyPr/>
        <a:lstStyle/>
        <a:p>
          <a:endParaRPr lang="en-US"/>
        </a:p>
      </dgm:t>
    </dgm:pt>
    <dgm:pt modelId="{90B77845-B72B-4EAD-899F-E54B1BB63B00}" type="sibTrans" cxnId="{71698C88-9360-4C32-80DF-4C9E1F8128F1}">
      <dgm:prSet/>
      <dgm:spPr/>
      <dgm:t>
        <a:bodyPr/>
        <a:lstStyle/>
        <a:p>
          <a:endParaRPr lang="en-US"/>
        </a:p>
      </dgm:t>
    </dgm:pt>
    <dgm:pt modelId="{274921F5-FB0A-4780-8D6F-C8D4DEA67B21}">
      <dgm:prSet phldrT="[Text]"/>
      <dgm:spPr/>
      <dgm:t>
        <a:bodyPr/>
        <a:lstStyle/>
        <a:p>
          <a:r>
            <a:rPr lang="en-MY" smtClean="0"/>
            <a:t>Learning Standards</a:t>
          </a:r>
          <a:endParaRPr lang="en-US"/>
        </a:p>
      </dgm:t>
    </dgm:pt>
    <dgm:pt modelId="{6865C88A-C419-48B5-9AA5-ABB0D0C9E6EB}" type="parTrans" cxnId="{0E26A34B-13E8-4B0E-8961-00220A093F81}">
      <dgm:prSet/>
      <dgm:spPr/>
      <dgm:t>
        <a:bodyPr/>
        <a:lstStyle/>
        <a:p>
          <a:endParaRPr lang="en-US"/>
        </a:p>
      </dgm:t>
    </dgm:pt>
    <dgm:pt modelId="{EF1BD340-780B-47F7-9CC9-AED8E0B3A1BB}" type="sibTrans" cxnId="{0E26A34B-13E8-4B0E-8961-00220A093F81}">
      <dgm:prSet/>
      <dgm:spPr/>
      <dgm:t>
        <a:bodyPr/>
        <a:lstStyle/>
        <a:p>
          <a:endParaRPr lang="en-US"/>
        </a:p>
      </dgm:t>
    </dgm:pt>
    <dgm:pt modelId="{7959A1DC-6A0D-40FE-8F00-0334BCE9D07E}">
      <dgm:prSet phldrT="[Text]"/>
      <dgm:spPr/>
      <dgm:t>
        <a:bodyPr/>
        <a:lstStyle/>
        <a:p>
          <a:r>
            <a:rPr lang="en-MY" smtClean="0"/>
            <a:t>Performance Standards</a:t>
          </a:r>
          <a:endParaRPr lang="en-US"/>
        </a:p>
      </dgm:t>
    </dgm:pt>
    <dgm:pt modelId="{E0F7ACCD-15B7-4CED-B1B5-DA3A168E3AC6}" type="parTrans" cxnId="{2231C1FC-68B9-4ADC-8411-1E6A754031CC}">
      <dgm:prSet/>
      <dgm:spPr/>
      <dgm:t>
        <a:bodyPr/>
        <a:lstStyle/>
        <a:p>
          <a:endParaRPr lang="en-US"/>
        </a:p>
      </dgm:t>
    </dgm:pt>
    <dgm:pt modelId="{F29C2B69-E871-40CB-9BE2-4D2E96E0655A}" type="sibTrans" cxnId="{2231C1FC-68B9-4ADC-8411-1E6A754031CC}">
      <dgm:prSet/>
      <dgm:spPr/>
      <dgm:t>
        <a:bodyPr/>
        <a:lstStyle/>
        <a:p>
          <a:endParaRPr lang="en-US"/>
        </a:p>
      </dgm:t>
    </dgm:pt>
    <dgm:pt modelId="{D6D2BB17-6113-4A8F-96E3-0164FEE5578B}" type="pres">
      <dgm:prSet presAssocID="{4B45B04F-B742-4D68-AED7-1B981F87D9F2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607029-762F-44F6-BB55-A67E3890474A}" type="pres">
      <dgm:prSet presAssocID="{6B13B977-0348-4BE3-BABE-AC90946CB3CB}" presName="roof" presStyleLbl="dkBgShp" presStyleIdx="0" presStyleCnt="2"/>
      <dgm:spPr/>
      <dgm:t>
        <a:bodyPr/>
        <a:lstStyle/>
        <a:p>
          <a:endParaRPr lang="en-US"/>
        </a:p>
      </dgm:t>
    </dgm:pt>
    <dgm:pt modelId="{D61A4969-3442-483A-A0DA-5326DF5A3450}" type="pres">
      <dgm:prSet presAssocID="{6B13B977-0348-4BE3-BABE-AC90946CB3CB}" presName="pillars" presStyleCnt="0"/>
      <dgm:spPr/>
    </dgm:pt>
    <dgm:pt modelId="{DD2C9F94-7DAD-457B-822D-1B3FAB605FF8}" type="pres">
      <dgm:prSet presAssocID="{6B13B977-0348-4BE3-BABE-AC90946CB3CB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989E0C-964E-407D-8293-120A0A91D7A0}" type="pres">
      <dgm:prSet presAssocID="{274921F5-FB0A-4780-8D6F-C8D4DEA67B21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DE6F73-FDBF-49BA-B75D-C777DA1CF5DD}" type="pres">
      <dgm:prSet presAssocID="{7959A1DC-6A0D-40FE-8F00-0334BCE9D07E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0F8CAB-10E9-4862-B428-30928D1E8525}" type="pres">
      <dgm:prSet presAssocID="{6B13B977-0348-4BE3-BABE-AC90946CB3CB}" presName="base" presStyleLbl="dkBgShp" presStyleIdx="1" presStyleCnt="2"/>
      <dgm:spPr/>
    </dgm:pt>
  </dgm:ptLst>
  <dgm:cxnLst>
    <dgm:cxn modelId="{71698C88-9360-4C32-80DF-4C9E1F8128F1}" srcId="{6B13B977-0348-4BE3-BABE-AC90946CB3CB}" destId="{83E38DD2-F611-4CA6-967A-FFAAB35A1E72}" srcOrd="0" destOrd="0" parTransId="{61EAC8AE-649E-442A-95D5-85B43C5E56CA}" sibTransId="{90B77845-B72B-4EAD-899F-E54B1BB63B00}"/>
    <dgm:cxn modelId="{2231C1FC-68B9-4ADC-8411-1E6A754031CC}" srcId="{6B13B977-0348-4BE3-BABE-AC90946CB3CB}" destId="{7959A1DC-6A0D-40FE-8F00-0334BCE9D07E}" srcOrd="2" destOrd="0" parTransId="{E0F7ACCD-15B7-4CED-B1B5-DA3A168E3AC6}" sibTransId="{F29C2B69-E871-40CB-9BE2-4D2E96E0655A}"/>
    <dgm:cxn modelId="{87739CA8-41F6-4136-8357-2192ECB3C326}" srcId="{4B45B04F-B742-4D68-AED7-1B981F87D9F2}" destId="{6B13B977-0348-4BE3-BABE-AC90946CB3CB}" srcOrd="0" destOrd="0" parTransId="{CE84E99F-D789-4D30-92DC-B4B203EF0D09}" sibTransId="{19E8C798-B74A-4A4B-8738-D305A7483DDA}"/>
    <dgm:cxn modelId="{C0F196AB-87D8-40D5-A0BB-3416D8031129}" type="presOf" srcId="{274921F5-FB0A-4780-8D6F-C8D4DEA67B21}" destId="{47989E0C-964E-407D-8293-120A0A91D7A0}" srcOrd="0" destOrd="0" presId="urn:microsoft.com/office/officeart/2005/8/layout/hList3"/>
    <dgm:cxn modelId="{C7862767-297E-4E20-AA6E-7705E4EC3BEC}" type="presOf" srcId="{83E38DD2-F611-4CA6-967A-FFAAB35A1E72}" destId="{DD2C9F94-7DAD-457B-822D-1B3FAB605FF8}" srcOrd="0" destOrd="0" presId="urn:microsoft.com/office/officeart/2005/8/layout/hList3"/>
    <dgm:cxn modelId="{7FCD93FB-25D9-42A8-B723-058A27C41AE1}" type="presOf" srcId="{6B13B977-0348-4BE3-BABE-AC90946CB3CB}" destId="{09607029-762F-44F6-BB55-A67E3890474A}" srcOrd="0" destOrd="0" presId="urn:microsoft.com/office/officeart/2005/8/layout/hList3"/>
    <dgm:cxn modelId="{A106BA9F-ABCF-412B-847E-524AA4339066}" type="presOf" srcId="{4B45B04F-B742-4D68-AED7-1B981F87D9F2}" destId="{D6D2BB17-6113-4A8F-96E3-0164FEE5578B}" srcOrd="0" destOrd="0" presId="urn:microsoft.com/office/officeart/2005/8/layout/hList3"/>
    <dgm:cxn modelId="{4801B890-FD2C-4C55-9ABC-C2981D8C89F3}" type="presOf" srcId="{7959A1DC-6A0D-40FE-8F00-0334BCE9D07E}" destId="{20DE6F73-FDBF-49BA-B75D-C777DA1CF5DD}" srcOrd="0" destOrd="0" presId="urn:microsoft.com/office/officeart/2005/8/layout/hList3"/>
    <dgm:cxn modelId="{0E26A34B-13E8-4B0E-8961-00220A093F81}" srcId="{6B13B977-0348-4BE3-BABE-AC90946CB3CB}" destId="{274921F5-FB0A-4780-8D6F-C8D4DEA67B21}" srcOrd="1" destOrd="0" parTransId="{6865C88A-C419-48B5-9AA5-ABB0D0C9E6EB}" sibTransId="{EF1BD340-780B-47F7-9CC9-AED8E0B3A1BB}"/>
    <dgm:cxn modelId="{D30BB357-A495-4CDE-BEF3-100B6CEE75CE}" type="presParOf" srcId="{D6D2BB17-6113-4A8F-96E3-0164FEE5578B}" destId="{09607029-762F-44F6-BB55-A67E3890474A}" srcOrd="0" destOrd="0" presId="urn:microsoft.com/office/officeart/2005/8/layout/hList3"/>
    <dgm:cxn modelId="{B7F9DD0D-0F96-4409-82FD-75CF66851694}" type="presParOf" srcId="{D6D2BB17-6113-4A8F-96E3-0164FEE5578B}" destId="{D61A4969-3442-483A-A0DA-5326DF5A3450}" srcOrd="1" destOrd="0" presId="urn:microsoft.com/office/officeart/2005/8/layout/hList3"/>
    <dgm:cxn modelId="{AAF2A812-C5E1-437B-AE63-CCEB534BE09B}" type="presParOf" srcId="{D61A4969-3442-483A-A0DA-5326DF5A3450}" destId="{DD2C9F94-7DAD-457B-822D-1B3FAB605FF8}" srcOrd="0" destOrd="0" presId="urn:microsoft.com/office/officeart/2005/8/layout/hList3"/>
    <dgm:cxn modelId="{0B33431D-605D-498B-AA94-9EDA07C3FCFE}" type="presParOf" srcId="{D61A4969-3442-483A-A0DA-5326DF5A3450}" destId="{47989E0C-964E-407D-8293-120A0A91D7A0}" srcOrd="1" destOrd="0" presId="urn:microsoft.com/office/officeart/2005/8/layout/hList3"/>
    <dgm:cxn modelId="{7B0C2BF7-381B-4384-9F07-627CCFFA55AB}" type="presParOf" srcId="{D61A4969-3442-483A-A0DA-5326DF5A3450}" destId="{20DE6F73-FDBF-49BA-B75D-C777DA1CF5DD}" srcOrd="2" destOrd="0" presId="urn:microsoft.com/office/officeart/2005/8/layout/hList3"/>
    <dgm:cxn modelId="{56CB45EC-228B-49EC-8E69-45CE03FA546F}" type="presParOf" srcId="{D6D2BB17-6113-4A8F-96E3-0164FEE5578B}" destId="{720F8CAB-10E9-4862-B428-30928D1E8525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B45B04F-B742-4D68-AED7-1B981F87D9F2}" type="doc">
      <dgm:prSet loTypeId="urn:microsoft.com/office/officeart/2005/8/layout/hList3" loCatId="list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6B13B977-0348-4BE3-BABE-AC90946CB3CB}">
      <dgm:prSet phldrT="[Text]"/>
      <dgm:spPr/>
      <dgm:t>
        <a:bodyPr/>
        <a:lstStyle/>
        <a:p>
          <a:r>
            <a:rPr lang="en-MY" smtClean="0"/>
            <a:t>Standard </a:t>
          </a:r>
          <a:r>
            <a:rPr lang="en-MY" smtClean="0"/>
            <a:t>Document</a:t>
          </a:r>
          <a:endParaRPr lang="en-US"/>
        </a:p>
      </dgm:t>
    </dgm:pt>
    <dgm:pt modelId="{CE84E99F-D789-4D30-92DC-B4B203EF0D09}" type="parTrans" cxnId="{87739CA8-41F6-4136-8357-2192ECB3C326}">
      <dgm:prSet/>
      <dgm:spPr/>
      <dgm:t>
        <a:bodyPr/>
        <a:lstStyle/>
        <a:p>
          <a:endParaRPr lang="en-US"/>
        </a:p>
      </dgm:t>
    </dgm:pt>
    <dgm:pt modelId="{19E8C798-B74A-4A4B-8738-D305A7483DDA}" type="sibTrans" cxnId="{87739CA8-41F6-4136-8357-2192ECB3C326}">
      <dgm:prSet/>
      <dgm:spPr/>
      <dgm:t>
        <a:bodyPr/>
        <a:lstStyle/>
        <a:p>
          <a:endParaRPr lang="en-US"/>
        </a:p>
      </dgm:t>
    </dgm:pt>
    <dgm:pt modelId="{83E38DD2-F611-4CA6-967A-FFAAB35A1E72}">
      <dgm:prSet phldrT="[Text]"/>
      <dgm:spPr/>
      <dgm:t>
        <a:bodyPr/>
        <a:lstStyle/>
        <a:p>
          <a:r>
            <a:rPr lang="en-US" smtClean="0"/>
            <a:t>…general statement about cognitive and affective domain that can be achieved by the pupils.</a:t>
          </a:r>
          <a:endParaRPr lang="en-US"/>
        </a:p>
      </dgm:t>
    </dgm:pt>
    <dgm:pt modelId="{61EAC8AE-649E-442A-95D5-85B43C5E56CA}" type="parTrans" cxnId="{71698C88-9360-4C32-80DF-4C9E1F8128F1}">
      <dgm:prSet/>
      <dgm:spPr/>
      <dgm:t>
        <a:bodyPr/>
        <a:lstStyle/>
        <a:p>
          <a:endParaRPr lang="en-US"/>
        </a:p>
      </dgm:t>
    </dgm:pt>
    <dgm:pt modelId="{90B77845-B72B-4EAD-899F-E54B1BB63B00}" type="sibTrans" cxnId="{71698C88-9360-4C32-80DF-4C9E1F8128F1}">
      <dgm:prSet/>
      <dgm:spPr/>
      <dgm:t>
        <a:bodyPr/>
        <a:lstStyle/>
        <a:p>
          <a:endParaRPr lang="en-US"/>
        </a:p>
      </dgm:t>
    </dgm:pt>
    <dgm:pt modelId="{274921F5-FB0A-4780-8D6F-C8D4DEA67B21}">
      <dgm:prSet phldrT="[Text]"/>
      <dgm:spPr/>
      <dgm:t>
        <a:bodyPr/>
        <a:lstStyle/>
        <a:p>
          <a:r>
            <a:rPr lang="en-US" smtClean="0"/>
            <a:t>…specific statement of what pupils should know and able to do conceptually and practically.</a:t>
          </a:r>
          <a:endParaRPr lang="en-US"/>
        </a:p>
      </dgm:t>
    </dgm:pt>
    <dgm:pt modelId="{6865C88A-C419-48B5-9AA5-ABB0D0C9E6EB}" type="parTrans" cxnId="{0E26A34B-13E8-4B0E-8961-00220A093F81}">
      <dgm:prSet/>
      <dgm:spPr/>
      <dgm:t>
        <a:bodyPr/>
        <a:lstStyle/>
        <a:p>
          <a:endParaRPr lang="en-US"/>
        </a:p>
      </dgm:t>
    </dgm:pt>
    <dgm:pt modelId="{EF1BD340-780B-47F7-9CC9-AED8E0B3A1BB}" type="sibTrans" cxnId="{0E26A34B-13E8-4B0E-8961-00220A093F81}">
      <dgm:prSet/>
      <dgm:spPr/>
      <dgm:t>
        <a:bodyPr/>
        <a:lstStyle/>
        <a:p>
          <a:endParaRPr lang="en-US"/>
        </a:p>
      </dgm:t>
    </dgm:pt>
    <dgm:pt modelId="{7959A1DC-6A0D-40FE-8F00-0334BCE9D07E}">
      <dgm:prSet phldrT="[Text]"/>
      <dgm:spPr/>
      <dgm:t>
        <a:bodyPr/>
        <a:lstStyle/>
        <a:p>
          <a:r>
            <a:rPr lang="en-US" smtClean="0"/>
            <a:t>…general criterion that illustrate the level of performance that the students need to demonstrate as indicator of success called Descriptor.</a:t>
          </a:r>
          <a:endParaRPr lang="en-US"/>
        </a:p>
      </dgm:t>
    </dgm:pt>
    <dgm:pt modelId="{E0F7ACCD-15B7-4CED-B1B5-DA3A168E3AC6}" type="parTrans" cxnId="{2231C1FC-68B9-4ADC-8411-1E6A754031CC}">
      <dgm:prSet/>
      <dgm:spPr/>
      <dgm:t>
        <a:bodyPr/>
        <a:lstStyle/>
        <a:p>
          <a:endParaRPr lang="en-US"/>
        </a:p>
      </dgm:t>
    </dgm:pt>
    <dgm:pt modelId="{F29C2B69-E871-40CB-9BE2-4D2E96E0655A}" type="sibTrans" cxnId="{2231C1FC-68B9-4ADC-8411-1E6A754031CC}">
      <dgm:prSet/>
      <dgm:spPr/>
      <dgm:t>
        <a:bodyPr/>
        <a:lstStyle/>
        <a:p>
          <a:endParaRPr lang="en-US"/>
        </a:p>
      </dgm:t>
    </dgm:pt>
    <dgm:pt modelId="{D6D2BB17-6113-4A8F-96E3-0164FEE5578B}" type="pres">
      <dgm:prSet presAssocID="{4B45B04F-B742-4D68-AED7-1B981F87D9F2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09607029-762F-44F6-BB55-A67E3890474A}" type="pres">
      <dgm:prSet presAssocID="{6B13B977-0348-4BE3-BABE-AC90946CB3CB}" presName="roof" presStyleLbl="dkBgShp" presStyleIdx="0" presStyleCnt="2"/>
      <dgm:spPr/>
      <dgm:t>
        <a:bodyPr/>
        <a:lstStyle/>
        <a:p>
          <a:endParaRPr lang="en-US"/>
        </a:p>
      </dgm:t>
    </dgm:pt>
    <dgm:pt modelId="{D61A4969-3442-483A-A0DA-5326DF5A3450}" type="pres">
      <dgm:prSet presAssocID="{6B13B977-0348-4BE3-BABE-AC90946CB3CB}" presName="pillars" presStyleCnt="0"/>
      <dgm:spPr/>
    </dgm:pt>
    <dgm:pt modelId="{DD2C9F94-7DAD-457B-822D-1B3FAB605FF8}" type="pres">
      <dgm:prSet presAssocID="{6B13B977-0348-4BE3-BABE-AC90946CB3CB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989E0C-964E-407D-8293-120A0A91D7A0}" type="pres">
      <dgm:prSet presAssocID="{274921F5-FB0A-4780-8D6F-C8D4DEA67B21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0DE6F73-FDBF-49BA-B75D-C777DA1CF5DD}" type="pres">
      <dgm:prSet presAssocID="{7959A1DC-6A0D-40FE-8F00-0334BCE9D07E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0F8CAB-10E9-4862-B428-30928D1E8525}" type="pres">
      <dgm:prSet presAssocID="{6B13B977-0348-4BE3-BABE-AC90946CB3CB}" presName="base" presStyleLbl="dkBgShp" presStyleIdx="1" presStyleCnt="2"/>
      <dgm:spPr/>
    </dgm:pt>
  </dgm:ptLst>
  <dgm:cxnLst>
    <dgm:cxn modelId="{71698C88-9360-4C32-80DF-4C9E1F8128F1}" srcId="{6B13B977-0348-4BE3-BABE-AC90946CB3CB}" destId="{83E38DD2-F611-4CA6-967A-FFAAB35A1E72}" srcOrd="0" destOrd="0" parTransId="{61EAC8AE-649E-442A-95D5-85B43C5E56CA}" sibTransId="{90B77845-B72B-4EAD-899F-E54B1BB63B00}"/>
    <dgm:cxn modelId="{2231C1FC-68B9-4ADC-8411-1E6A754031CC}" srcId="{6B13B977-0348-4BE3-BABE-AC90946CB3CB}" destId="{7959A1DC-6A0D-40FE-8F00-0334BCE9D07E}" srcOrd="2" destOrd="0" parTransId="{E0F7ACCD-15B7-4CED-B1B5-DA3A168E3AC6}" sibTransId="{F29C2B69-E871-40CB-9BE2-4D2E96E0655A}"/>
    <dgm:cxn modelId="{87739CA8-41F6-4136-8357-2192ECB3C326}" srcId="{4B45B04F-B742-4D68-AED7-1B981F87D9F2}" destId="{6B13B977-0348-4BE3-BABE-AC90946CB3CB}" srcOrd="0" destOrd="0" parTransId="{CE84E99F-D789-4D30-92DC-B4B203EF0D09}" sibTransId="{19E8C798-B74A-4A4B-8738-D305A7483DDA}"/>
    <dgm:cxn modelId="{C0F196AB-87D8-40D5-A0BB-3416D8031129}" type="presOf" srcId="{274921F5-FB0A-4780-8D6F-C8D4DEA67B21}" destId="{47989E0C-964E-407D-8293-120A0A91D7A0}" srcOrd="0" destOrd="0" presId="urn:microsoft.com/office/officeart/2005/8/layout/hList3"/>
    <dgm:cxn modelId="{C7862767-297E-4E20-AA6E-7705E4EC3BEC}" type="presOf" srcId="{83E38DD2-F611-4CA6-967A-FFAAB35A1E72}" destId="{DD2C9F94-7DAD-457B-822D-1B3FAB605FF8}" srcOrd="0" destOrd="0" presId="urn:microsoft.com/office/officeart/2005/8/layout/hList3"/>
    <dgm:cxn modelId="{7FCD93FB-25D9-42A8-B723-058A27C41AE1}" type="presOf" srcId="{6B13B977-0348-4BE3-BABE-AC90946CB3CB}" destId="{09607029-762F-44F6-BB55-A67E3890474A}" srcOrd="0" destOrd="0" presId="urn:microsoft.com/office/officeart/2005/8/layout/hList3"/>
    <dgm:cxn modelId="{A106BA9F-ABCF-412B-847E-524AA4339066}" type="presOf" srcId="{4B45B04F-B742-4D68-AED7-1B981F87D9F2}" destId="{D6D2BB17-6113-4A8F-96E3-0164FEE5578B}" srcOrd="0" destOrd="0" presId="urn:microsoft.com/office/officeart/2005/8/layout/hList3"/>
    <dgm:cxn modelId="{4801B890-FD2C-4C55-9ABC-C2981D8C89F3}" type="presOf" srcId="{7959A1DC-6A0D-40FE-8F00-0334BCE9D07E}" destId="{20DE6F73-FDBF-49BA-B75D-C777DA1CF5DD}" srcOrd="0" destOrd="0" presId="urn:microsoft.com/office/officeart/2005/8/layout/hList3"/>
    <dgm:cxn modelId="{0E26A34B-13E8-4B0E-8961-00220A093F81}" srcId="{6B13B977-0348-4BE3-BABE-AC90946CB3CB}" destId="{274921F5-FB0A-4780-8D6F-C8D4DEA67B21}" srcOrd="1" destOrd="0" parTransId="{6865C88A-C419-48B5-9AA5-ABB0D0C9E6EB}" sibTransId="{EF1BD340-780B-47F7-9CC9-AED8E0B3A1BB}"/>
    <dgm:cxn modelId="{D30BB357-A495-4CDE-BEF3-100B6CEE75CE}" type="presParOf" srcId="{D6D2BB17-6113-4A8F-96E3-0164FEE5578B}" destId="{09607029-762F-44F6-BB55-A67E3890474A}" srcOrd="0" destOrd="0" presId="urn:microsoft.com/office/officeart/2005/8/layout/hList3"/>
    <dgm:cxn modelId="{B7F9DD0D-0F96-4409-82FD-75CF66851694}" type="presParOf" srcId="{D6D2BB17-6113-4A8F-96E3-0164FEE5578B}" destId="{D61A4969-3442-483A-A0DA-5326DF5A3450}" srcOrd="1" destOrd="0" presId="urn:microsoft.com/office/officeart/2005/8/layout/hList3"/>
    <dgm:cxn modelId="{AAF2A812-C5E1-437B-AE63-CCEB534BE09B}" type="presParOf" srcId="{D61A4969-3442-483A-A0DA-5326DF5A3450}" destId="{DD2C9F94-7DAD-457B-822D-1B3FAB605FF8}" srcOrd="0" destOrd="0" presId="urn:microsoft.com/office/officeart/2005/8/layout/hList3"/>
    <dgm:cxn modelId="{0B33431D-605D-498B-AA94-9EDA07C3FCFE}" type="presParOf" srcId="{D61A4969-3442-483A-A0DA-5326DF5A3450}" destId="{47989E0C-964E-407D-8293-120A0A91D7A0}" srcOrd="1" destOrd="0" presId="urn:microsoft.com/office/officeart/2005/8/layout/hList3"/>
    <dgm:cxn modelId="{7B0C2BF7-381B-4384-9F07-627CCFFA55AB}" type="presParOf" srcId="{D61A4969-3442-483A-A0DA-5326DF5A3450}" destId="{20DE6F73-FDBF-49BA-B75D-C777DA1CF5DD}" srcOrd="2" destOrd="0" presId="urn:microsoft.com/office/officeart/2005/8/layout/hList3"/>
    <dgm:cxn modelId="{56CB45EC-228B-49EC-8E69-45CE03FA546F}" type="presParOf" srcId="{D6D2BB17-6113-4A8F-96E3-0164FEE5578B}" destId="{720F8CAB-10E9-4862-B428-30928D1E8525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9B5D4B2-EF8D-4823-9BC3-4B885BBC2427}" type="doc">
      <dgm:prSet loTypeId="urn:microsoft.com/office/officeart/2005/8/layout/balance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72F66B9-E296-4713-A715-5A3D6FC62D45}">
      <dgm:prSet phldrT="[Text]"/>
      <dgm:spPr/>
      <dgm:t>
        <a:bodyPr/>
        <a:lstStyle/>
        <a:p>
          <a:r>
            <a:rPr lang="en-MY" smtClean="0"/>
            <a:t>KBSR</a:t>
          </a:r>
          <a:endParaRPr lang="en-US"/>
        </a:p>
      </dgm:t>
    </dgm:pt>
    <dgm:pt modelId="{F4EDBF31-046E-474D-AD62-968CCEE73A75}" type="parTrans" cxnId="{403A1AF5-110F-4370-BAA7-F666CA920EA6}">
      <dgm:prSet/>
      <dgm:spPr/>
      <dgm:t>
        <a:bodyPr/>
        <a:lstStyle/>
        <a:p>
          <a:endParaRPr lang="en-US"/>
        </a:p>
      </dgm:t>
    </dgm:pt>
    <dgm:pt modelId="{970D99CF-03DA-44B9-81AA-608F3F508601}" type="sibTrans" cxnId="{403A1AF5-110F-4370-BAA7-F666CA920EA6}">
      <dgm:prSet/>
      <dgm:spPr/>
      <dgm:t>
        <a:bodyPr/>
        <a:lstStyle/>
        <a:p>
          <a:endParaRPr lang="en-US"/>
        </a:p>
      </dgm:t>
    </dgm:pt>
    <dgm:pt modelId="{4B63B909-C5EE-4875-AEA2-A7FD9F5C7339}">
      <dgm:prSet phldrT="[Text]"/>
      <dgm:spPr/>
      <dgm:t>
        <a:bodyPr/>
        <a:lstStyle/>
        <a:p>
          <a:r>
            <a:rPr lang="en-MY" smtClean="0"/>
            <a:t>Reading</a:t>
          </a:r>
          <a:endParaRPr lang="en-US"/>
        </a:p>
      </dgm:t>
    </dgm:pt>
    <dgm:pt modelId="{B5E5E58C-A30B-4FE2-ACD4-5E6EE88CAFD8}" type="parTrans" cxnId="{FEE8AFC1-2C7F-4D80-9F65-1D459909967B}">
      <dgm:prSet/>
      <dgm:spPr/>
      <dgm:t>
        <a:bodyPr/>
        <a:lstStyle/>
        <a:p>
          <a:endParaRPr lang="en-US"/>
        </a:p>
      </dgm:t>
    </dgm:pt>
    <dgm:pt modelId="{034098BE-7BFD-48BC-B4B4-5FF3BCB0F2B1}" type="sibTrans" cxnId="{FEE8AFC1-2C7F-4D80-9F65-1D459909967B}">
      <dgm:prSet/>
      <dgm:spPr/>
      <dgm:t>
        <a:bodyPr/>
        <a:lstStyle/>
        <a:p>
          <a:endParaRPr lang="en-US"/>
        </a:p>
      </dgm:t>
    </dgm:pt>
    <dgm:pt modelId="{A553647F-DE24-427E-82B6-D83ECAD24669}">
      <dgm:prSet phldrT="[Text]"/>
      <dgm:spPr/>
      <dgm:t>
        <a:bodyPr/>
        <a:lstStyle/>
        <a:p>
          <a:r>
            <a:rPr lang="en-MY" smtClean="0"/>
            <a:t>Writing</a:t>
          </a:r>
          <a:endParaRPr lang="en-US"/>
        </a:p>
      </dgm:t>
    </dgm:pt>
    <dgm:pt modelId="{8312D734-DD8E-49A9-B247-4862F283DA95}" type="parTrans" cxnId="{69768534-0668-439D-BFD8-51288DD495D0}">
      <dgm:prSet/>
      <dgm:spPr/>
      <dgm:t>
        <a:bodyPr/>
        <a:lstStyle/>
        <a:p>
          <a:endParaRPr lang="en-US"/>
        </a:p>
      </dgm:t>
    </dgm:pt>
    <dgm:pt modelId="{5626A278-CCDF-44A4-9E5C-C1797C6EA24B}" type="sibTrans" cxnId="{69768534-0668-439D-BFD8-51288DD495D0}">
      <dgm:prSet/>
      <dgm:spPr/>
      <dgm:t>
        <a:bodyPr/>
        <a:lstStyle/>
        <a:p>
          <a:endParaRPr lang="en-US"/>
        </a:p>
      </dgm:t>
    </dgm:pt>
    <dgm:pt modelId="{6AF7742B-3861-4317-B79C-86605C18FB48}">
      <dgm:prSet phldrT="[Text]"/>
      <dgm:spPr/>
      <dgm:t>
        <a:bodyPr/>
        <a:lstStyle/>
        <a:p>
          <a:r>
            <a:rPr lang="en-MY" smtClean="0"/>
            <a:t>KSSR</a:t>
          </a:r>
          <a:endParaRPr lang="en-US"/>
        </a:p>
      </dgm:t>
    </dgm:pt>
    <dgm:pt modelId="{462E2392-6315-41F0-8169-90EC8DE68526}" type="parTrans" cxnId="{75892DBB-9CDA-4045-A3BC-9E749E6E047E}">
      <dgm:prSet/>
      <dgm:spPr/>
      <dgm:t>
        <a:bodyPr/>
        <a:lstStyle/>
        <a:p>
          <a:endParaRPr lang="en-US"/>
        </a:p>
      </dgm:t>
    </dgm:pt>
    <dgm:pt modelId="{39E40FE3-F915-4422-B996-70B0E3273BA7}" type="sibTrans" cxnId="{75892DBB-9CDA-4045-A3BC-9E749E6E047E}">
      <dgm:prSet/>
      <dgm:spPr/>
      <dgm:t>
        <a:bodyPr/>
        <a:lstStyle/>
        <a:p>
          <a:endParaRPr lang="en-US"/>
        </a:p>
      </dgm:t>
    </dgm:pt>
    <dgm:pt modelId="{A6A95906-CA86-4008-AA41-D47A8CA0A377}">
      <dgm:prSet phldrT="[Text]"/>
      <dgm:spPr/>
      <dgm:t>
        <a:bodyPr/>
        <a:lstStyle/>
        <a:p>
          <a:r>
            <a:rPr lang="en-MY" smtClean="0"/>
            <a:t>Reading </a:t>
          </a:r>
          <a:endParaRPr lang="en-US"/>
        </a:p>
      </dgm:t>
    </dgm:pt>
    <dgm:pt modelId="{94253C8D-4543-47EA-B604-7D281378C7A0}" type="parTrans" cxnId="{66DC528F-C510-4B9D-A2A0-BABF8D4553A6}">
      <dgm:prSet/>
      <dgm:spPr/>
      <dgm:t>
        <a:bodyPr/>
        <a:lstStyle/>
        <a:p>
          <a:endParaRPr lang="en-US"/>
        </a:p>
      </dgm:t>
    </dgm:pt>
    <dgm:pt modelId="{7747E4CA-794F-4772-96B9-C0307A2248FE}" type="sibTrans" cxnId="{66DC528F-C510-4B9D-A2A0-BABF8D4553A6}">
      <dgm:prSet/>
      <dgm:spPr/>
      <dgm:t>
        <a:bodyPr/>
        <a:lstStyle/>
        <a:p>
          <a:endParaRPr lang="en-US"/>
        </a:p>
      </dgm:t>
    </dgm:pt>
    <dgm:pt modelId="{506282D5-C8FB-46EE-82B1-ED4F3631E188}">
      <dgm:prSet phldrT="[Text]"/>
      <dgm:spPr/>
      <dgm:t>
        <a:bodyPr/>
        <a:lstStyle/>
        <a:p>
          <a:r>
            <a:rPr lang="en-MY" smtClean="0"/>
            <a:t>Writing</a:t>
          </a:r>
          <a:endParaRPr lang="en-US"/>
        </a:p>
      </dgm:t>
    </dgm:pt>
    <dgm:pt modelId="{220A9209-62F8-49C7-A8E8-76E28AFDEDFC}" type="parTrans" cxnId="{BFD77E32-7AB0-4750-8192-FF00CBFFE3E0}">
      <dgm:prSet/>
      <dgm:spPr/>
      <dgm:t>
        <a:bodyPr/>
        <a:lstStyle/>
        <a:p>
          <a:endParaRPr lang="en-US"/>
        </a:p>
      </dgm:t>
    </dgm:pt>
    <dgm:pt modelId="{F264DEE5-281C-44DB-9D91-94297A53B8F1}" type="sibTrans" cxnId="{BFD77E32-7AB0-4750-8192-FF00CBFFE3E0}">
      <dgm:prSet/>
      <dgm:spPr/>
      <dgm:t>
        <a:bodyPr/>
        <a:lstStyle/>
        <a:p>
          <a:endParaRPr lang="en-US"/>
        </a:p>
      </dgm:t>
    </dgm:pt>
    <dgm:pt modelId="{3B08E900-EF47-4629-8BBD-C8AAF87EC4E4}">
      <dgm:prSet phldrT="[Text]"/>
      <dgm:spPr/>
      <dgm:t>
        <a:bodyPr/>
        <a:lstStyle/>
        <a:p>
          <a:r>
            <a:rPr lang="en-MY" smtClean="0"/>
            <a:t>Arithmetics</a:t>
          </a:r>
          <a:endParaRPr lang="en-US"/>
        </a:p>
      </dgm:t>
    </dgm:pt>
    <dgm:pt modelId="{ABF31EF6-3645-4FFA-9949-D4013B6E9E23}" type="parTrans" cxnId="{494E3E4E-F212-4332-A9E9-7167DB81F2FF}">
      <dgm:prSet/>
      <dgm:spPr/>
      <dgm:t>
        <a:bodyPr/>
        <a:lstStyle/>
        <a:p>
          <a:endParaRPr lang="en-US"/>
        </a:p>
      </dgm:t>
    </dgm:pt>
    <dgm:pt modelId="{B48AAF1F-0FC5-4C78-A0FB-021F89FB77F2}" type="sibTrans" cxnId="{494E3E4E-F212-4332-A9E9-7167DB81F2FF}">
      <dgm:prSet/>
      <dgm:spPr/>
      <dgm:t>
        <a:bodyPr/>
        <a:lstStyle/>
        <a:p>
          <a:endParaRPr lang="en-US"/>
        </a:p>
      </dgm:t>
    </dgm:pt>
    <dgm:pt modelId="{DF4ABA49-BBFA-4489-A121-64B23C338D41}">
      <dgm:prSet phldrT="[Text]"/>
      <dgm:spPr/>
      <dgm:t>
        <a:bodyPr/>
        <a:lstStyle/>
        <a:p>
          <a:r>
            <a:rPr lang="en-MY" smtClean="0"/>
            <a:t>Arithmetics</a:t>
          </a:r>
          <a:endParaRPr lang="en-US"/>
        </a:p>
      </dgm:t>
    </dgm:pt>
    <dgm:pt modelId="{623ECA51-17FC-4153-B8BD-2B1AC2CB537D}" type="parTrans" cxnId="{8BBB0C5A-3B42-49E7-9A48-3FBEB06D00CE}">
      <dgm:prSet/>
      <dgm:spPr/>
      <dgm:t>
        <a:bodyPr/>
        <a:lstStyle/>
        <a:p>
          <a:endParaRPr lang="en-US"/>
        </a:p>
      </dgm:t>
    </dgm:pt>
    <dgm:pt modelId="{30D188DB-D05F-450E-B479-5283FE6B28B0}" type="sibTrans" cxnId="{8BBB0C5A-3B42-49E7-9A48-3FBEB06D00CE}">
      <dgm:prSet/>
      <dgm:spPr/>
      <dgm:t>
        <a:bodyPr/>
        <a:lstStyle/>
        <a:p>
          <a:endParaRPr lang="en-US"/>
        </a:p>
      </dgm:t>
    </dgm:pt>
    <dgm:pt modelId="{F3B925BF-F5A9-4272-AF2A-12490D283D6D}">
      <dgm:prSet phldrT="[Text]"/>
      <dgm:spPr>
        <a:solidFill>
          <a:schemeClr val="tx1"/>
        </a:solidFill>
      </dgm:spPr>
      <dgm:t>
        <a:bodyPr/>
        <a:lstStyle/>
        <a:p>
          <a:r>
            <a:rPr lang="en-MY" smtClean="0"/>
            <a:t>Reasoning</a:t>
          </a:r>
          <a:endParaRPr lang="en-US"/>
        </a:p>
      </dgm:t>
    </dgm:pt>
    <dgm:pt modelId="{66E080BF-0E1B-4AE2-924D-4B4C937024A0}" type="parTrans" cxnId="{0ABA56A9-A9CD-4EEA-B03F-8FB5CBA281D4}">
      <dgm:prSet/>
      <dgm:spPr/>
      <dgm:t>
        <a:bodyPr/>
        <a:lstStyle/>
        <a:p>
          <a:endParaRPr lang="en-US"/>
        </a:p>
      </dgm:t>
    </dgm:pt>
    <dgm:pt modelId="{9D01C9C3-AC22-4E63-AAE3-D1B8BA9C602B}" type="sibTrans" cxnId="{0ABA56A9-A9CD-4EEA-B03F-8FB5CBA281D4}">
      <dgm:prSet/>
      <dgm:spPr/>
      <dgm:t>
        <a:bodyPr/>
        <a:lstStyle/>
        <a:p>
          <a:endParaRPr lang="en-US"/>
        </a:p>
      </dgm:t>
    </dgm:pt>
    <dgm:pt modelId="{85A75574-7C5F-424C-8E24-DE14236D3840}" type="pres">
      <dgm:prSet presAssocID="{69B5D4B2-EF8D-4823-9BC3-4B885BBC2427}" presName="outerComposite" presStyleCnt="0">
        <dgm:presLayoutVars>
          <dgm:chMax val="2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FB97C3D-74AD-491D-9E14-FD5A3C017A6D}" type="pres">
      <dgm:prSet presAssocID="{69B5D4B2-EF8D-4823-9BC3-4B885BBC2427}" presName="dummyMaxCanvas" presStyleCnt="0"/>
      <dgm:spPr/>
    </dgm:pt>
    <dgm:pt modelId="{5CCD64B7-9E46-447C-9F37-2B970E1CB4DE}" type="pres">
      <dgm:prSet presAssocID="{69B5D4B2-EF8D-4823-9BC3-4B885BBC2427}" presName="parentComposite" presStyleCnt="0"/>
      <dgm:spPr/>
    </dgm:pt>
    <dgm:pt modelId="{E0EB5CD2-C52F-4700-B250-D01157ABF28E}" type="pres">
      <dgm:prSet presAssocID="{69B5D4B2-EF8D-4823-9BC3-4B885BBC2427}" presName="parent1" presStyleLbl="alignAccFollowNode1" presStyleIdx="0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829E2DE1-CE7E-4EF0-9DFF-365F8063D953}" type="pres">
      <dgm:prSet presAssocID="{69B5D4B2-EF8D-4823-9BC3-4B885BBC2427}" presName="parent2" presStyleLbl="alignAccFollowNode1" presStyleIdx="1" presStyleCnt="4">
        <dgm:presLayoutVars>
          <dgm:chMax val="4"/>
        </dgm:presLayoutVars>
      </dgm:prSet>
      <dgm:spPr/>
      <dgm:t>
        <a:bodyPr/>
        <a:lstStyle/>
        <a:p>
          <a:endParaRPr lang="en-US"/>
        </a:p>
      </dgm:t>
    </dgm:pt>
    <dgm:pt modelId="{D4270185-95FF-4CFE-9445-FF0B9307535F}" type="pres">
      <dgm:prSet presAssocID="{69B5D4B2-EF8D-4823-9BC3-4B885BBC2427}" presName="childrenComposite" presStyleCnt="0"/>
      <dgm:spPr/>
    </dgm:pt>
    <dgm:pt modelId="{0051579B-C483-4036-91C4-3B4B7D0F430A}" type="pres">
      <dgm:prSet presAssocID="{69B5D4B2-EF8D-4823-9BC3-4B885BBC2427}" presName="dummyMaxCanvas_ChildArea" presStyleCnt="0"/>
      <dgm:spPr/>
    </dgm:pt>
    <dgm:pt modelId="{3EE1EA68-24C1-4103-8E91-F802B5E569E2}" type="pres">
      <dgm:prSet presAssocID="{69B5D4B2-EF8D-4823-9BC3-4B885BBC2427}" presName="fulcrum" presStyleLbl="alignAccFollowNode1" presStyleIdx="2" presStyleCnt="4"/>
      <dgm:spPr>
        <a:solidFill>
          <a:srgbClr val="0070C0">
            <a:alpha val="90000"/>
          </a:srgbClr>
        </a:solidFill>
      </dgm:spPr>
    </dgm:pt>
    <dgm:pt modelId="{7AA0D996-7AF3-4974-AF40-1F56F34A244C}" type="pres">
      <dgm:prSet presAssocID="{69B5D4B2-EF8D-4823-9BC3-4B885BBC2427}" presName="balance_34" presStyleLbl="alignAccFollowNode1" presStyleIdx="3" presStyleCnt="4">
        <dgm:presLayoutVars>
          <dgm:bulletEnabled val="1"/>
        </dgm:presLayoutVars>
      </dgm:prSet>
      <dgm:spPr>
        <a:solidFill>
          <a:srgbClr val="0070C0">
            <a:alpha val="90000"/>
          </a:srgbClr>
        </a:solidFill>
      </dgm:spPr>
    </dgm:pt>
    <dgm:pt modelId="{8667A035-1547-4863-8EF3-AA19EF51D22A}" type="pres">
      <dgm:prSet presAssocID="{69B5D4B2-EF8D-4823-9BC3-4B885BBC2427}" presName="right_34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0C8928-44FF-4DF3-81E7-EF69B0813DF5}" type="pres">
      <dgm:prSet presAssocID="{69B5D4B2-EF8D-4823-9BC3-4B885BBC2427}" presName="right_34_2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30110A-5A8D-4E64-89B2-09A545D9BA2C}" type="pres">
      <dgm:prSet presAssocID="{69B5D4B2-EF8D-4823-9BC3-4B885BBC2427}" presName="right_34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8AD650-60B4-4948-A1CA-5D4A181EFAC1}" type="pres">
      <dgm:prSet presAssocID="{69B5D4B2-EF8D-4823-9BC3-4B885BBC2427}" presName="right_34_4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219519-8B37-47F3-9A6A-06FE019FB572}" type="pres">
      <dgm:prSet presAssocID="{69B5D4B2-EF8D-4823-9BC3-4B885BBC2427}" presName="left_34_1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838614-F7E9-4930-B0FA-91DE2B48F8CF}" type="pres">
      <dgm:prSet presAssocID="{69B5D4B2-EF8D-4823-9BC3-4B885BBC2427}" presName="left_34_2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5A6C45F-33B4-4B8B-A948-F1C1D02C9915}" type="pres">
      <dgm:prSet presAssocID="{69B5D4B2-EF8D-4823-9BC3-4B885BBC2427}" presName="left_34_3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6DC528F-C510-4B9D-A2A0-BABF8D4553A6}" srcId="{6AF7742B-3861-4317-B79C-86605C18FB48}" destId="{A6A95906-CA86-4008-AA41-D47A8CA0A377}" srcOrd="0" destOrd="0" parTransId="{94253C8D-4543-47EA-B604-7D281378C7A0}" sibTransId="{7747E4CA-794F-4772-96B9-C0307A2248FE}"/>
    <dgm:cxn modelId="{8BBB0C5A-3B42-49E7-9A48-3FBEB06D00CE}" srcId="{372F66B9-E296-4713-A715-5A3D6FC62D45}" destId="{DF4ABA49-BBFA-4489-A121-64B23C338D41}" srcOrd="2" destOrd="0" parTransId="{623ECA51-17FC-4153-B8BD-2B1AC2CB537D}" sibTransId="{30D188DB-D05F-450E-B479-5283FE6B28B0}"/>
    <dgm:cxn modelId="{80D3FCD7-8C3C-4CC9-92C4-D19289F16471}" type="presOf" srcId="{A6A95906-CA86-4008-AA41-D47A8CA0A377}" destId="{8667A035-1547-4863-8EF3-AA19EF51D22A}" srcOrd="0" destOrd="0" presId="urn:microsoft.com/office/officeart/2005/8/layout/balance1"/>
    <dgm:cxn modelId="{75892DBB-9CDA-4045-A3BC-9E749E6E047E}" srcId="{69B5D4B2-EF8D-4823-9BC3-4B885BBC2427}" destId="{6AF7742B-3861-4317-B79C-86605C18FB48}" srcOrd="1" destOrd="0" parTransId="{462E2392-6315-41F0-8169-90EC8DE68526}" sibTransId="{39E40FE3-F915-4422-B996-70B0E3273BA7}"/>
    <dgm:cxn modelId="{6EE897E1-86B9-4E3C-9BDF-D283719EC56F}" type="presOf" srcId="{A553647F-DE24-427E-82B6-D83ECAD24669}" destId="{C5838614-F7E9-4930-B0FA-91DE2B48F8CF}" srcOrd="0" destOrd="0" presId="urn:microsoft.com/office/officeart/2005/8/layout/balance1"/>
    <dgm:cxn modelId="{4E186437-22F4-4EAE-B5B5-EAA56BDAD8D6}" type="presOf" srcId="{69B5D4B2-EF8D-4823-9BC3-4B885BBC2427}" destId="{85A75574-7C5F-424C-8E24-DE14236D3840}" srcOrd="0" destOrd="0" presId="urn:microsoft.com/office/officeart/2005/8/layout/balance1"/>
    <dgm:cxn modelId="{0ABA56A9-A9CD-4EEA-B03F-8FB5CBA281D4}" srcId="{6AF7742B-3861-4317-B79C-86605C18FB48}" destId="{F3B925BF-F5A9-4272-AF2A-12490D283D6D}" srcOrd="3" destOrd="0" parTransId="{66E080BF-0E1B-4AE2-924D-4B4C937024A0}" sibTransId="{9D01C9C3-AC22-4E63-AAE3-D1B8BA9C602B}"/>
    <dgm:cxn modelId="{912B1769-0549-4A78-9409-554AD7C45A0C}" type="presOf" srcId="{3B08E900-EF47-4629-8BBD-C8AAF87EC4E4}" destId="{D430110A-5A8D-4E64-89B2-09A545D9BA2C}" srcOrd="0" destOrd="0" presId="urn:microsoft.com/office/officeart/2005/8/layout/balance1"/>
    <dgm:cxn modelId="{5E92D184-FB85-4C7B-AC52-7B0106918198}" type="presOf" srcId="{F3B925BF-F5A9-4272-AF2A-12490D283D6D}" destId="{6F8AD650-60B4-4948-A1CA-5D4A181EFAC1}" srcOrd="0" destOrd="0" presId="urn:microsoft.com/office/officeart/2005/8/layout/balance1"/>
    <dgm:cxn modelId="{69768534-0668-439D-BFD8-51288DD495D0}" srcId="{372F66B9-E296-4713-A715-5A3D6FC62D45}" destId="{A553647F-DE24-427E-82B6-D83ECAD24669}" srcOrd="1" destOrd="0" parTransId="{8312D734-DD8E-49A9-B247-4862F283DA95}" sibTransId="{5626A278-CCDF-44A4-9E5C-C1797C6EA24B}"/>
    <dgm:cxn modelId="{494E3E4E-F212-4332-A9E9-7167DB81F2FF}" srcId="{6AF7742B-3861-4317-B79C-86605C18FB48}" destId="{3B08E900-EF47-4629-8BBD-C8AAF87EC4E4}" srcOrd="2" destOrd="0" parTransId="{ABF31EF6-3645-4FFA-9949-D4013B6E9E23}" sibTransId="{B48AAF1F-0FC5-4C78-A0FB-021F89FB77F2}"/>
    <dgm:cxn modelId="{4AE6ABA9-C429-47CA-A865-3646B2F917A0}" type="presOf" srcId="{6AF7742B-3861-4317-B79C-86605C18FB48}" destId="{829E2DE1-CE7E-4EF0-9DFF-365F8063D953}" srcOrd="0" destOrd="0" presId="urn:microsoft.com/office/officeart/2005/8/layout/balance1"/>
    <dgm:cxn modelId="{7F432CB0-5EB8-409F-9995-70E02DE0AFB2}" type="presOf" srcId="{DF4ABA49-BBFA-4489-A121-64B23C338D41}" destId="{45A6C45F-33B4-4B8B-A948-F1C1D02C9915}" srcOrd="0" destOrd="0" presId="urn:microsoft.com/office/officeart/2005/8/layout/balance1"/>
    <dgm:cxn modelId="{21938FCD-0E1B-47DF-898C-90D57FB6B62F}" type="presOf" srcId="{372F66B9-E296-4713-A715-5A3D6FC62D45}" destId="{E0EB5CD2-C52F-4700-B250-D01157ABF28E}" srcOrd="0" destOrd="0" presId="urn:microsoft.com/office/officeart/2005/8/layout/balance1"/>
    <dgm:cxn modelId="{FEE8AFC1-2C7F-4D80-9F65-1D459909967B}" srcId="{372F66B9-E296-4713-A715-5A3D6FC62D45}" destId="{4B63B909-C5EE-4875-AEA2-A7FD9F5C7339}" srcOrd="0" destOrd="0" parTransId="{B5E5E58C-A30B-4FE2-ACD4-5E6EE88CAFD8}" sibTransId="{034098BE-7BFD-48BC-B4B4-5FF3BCB0F2B1}"/>
    <dgm:cxn modelId="{D81A8BD3-B2E8-46BA-835F-1C3AC6DB3010}" type="presOf" srcId="{4B63B909-C5EE-4875-AEA2-A7FD9F5C7339}" destId="{02219519-8B37-47F3-9A6A-06FE019FB572}" srcOrd="0" destOrd="0" presId="urn:microsoft.com/office/officeart/2005/8/layout/balance1"/>
    <dgm:cxn modelId="{BFD77E32-7AB0-4750-8192-FF00CBFFE3E0}" srcId="{6AF7742B-3861-4317-B79C-86605C18FB48}" destId="{506282D5-C8FB-46EE-82B1-ED4F3631E188}" srcOrd="1" destOrd="0" parTransId="{220A9209-62F8-49C7-A8E8-76E28AFDEDFC}" sibTransId="{F264DEE5-281C-44DB-9D91-94297A53B8F1}"/>
    <dgm:cxn modelId="{060217AA-83AE-4334-99DD-877039D396CA}" type="presOf" srcId="{506282D5-C8FB-46EE-82B1-ED4F3631E188}" destId="{A00C8928-44FF-4DF3-81E7-EF69B0813DF5}" srcOrd="0" destOrd="0" presId="urn:microsoft.com/office/officeart/2005/8/layout/balance1"/>
    <dgm:cxn modelId="{403A1AF5-110F-4370-BAA7-F666CA920EA6}" srcId="{69B5D4B2-EF8D-4823-9BC3-4B885BBC2427}" destId="{372F66B9-E296-4713-A715-5A3D6FC62D45}" srcOrd="0" destOrd="0" parTransId="{F4EDBF31-046E-474D-AD62-968CCEE73A75}" sibTransId="{970D99CF-03DA-44B9-81AA-608F3F508601}"/>
    <dgm:cxn modelId="{44DC40AD-3245-49A6-A896-4625507B767C}" type="presParOf" srcId="{85A75574-7C5F-424C-8E24-DE14236D3840}" destId="{1FB97C3D-74AD-491D-9E14-FD5A3C017A6D}" srcOrd="0" destOrd="0" presId="urn:microsoft.com/office/officeart/2005/8/layout/balance1"/>
    <dgm:cxn modelId="{C3A793EA-3D1E-4C61-A268-B1D91D047CB6}" type="presParOf" srcId="{85A75574-7C5F-424C-8E24-DE14236D3840}" destId="{5CCD64B7-9E46-447C-9F37-2B970E1CB4DE}" srcOrd="1" destOrd="0" presId="urn:microsoft.com/office/officeart/2005/8/layout/balance1"/>
    <dgm:cxn modelId="{8BC05236-B133-4A2E-A19B-765A6CB74568}" type="presParOf" srcId="{5CCD64B7-9E46-447C-9F37-2B970E1CB4DE}" destId="{E0EB5CD2-C52F-4700-B250-D01157ABF28E}" srcOrd="0" destOrd="0" presId="urn:microsoft.com/office/officeart/2005/8/layout/balance1"/>
    <dgm:cxn modelId="{6B62B9A5-AA4C-45C8-97EC-BF2C76367D52}" type="presParOf" srcId="{5CCD64B7-9E46-447C-9F37-2B970E1CB4DE}" destId="{829E2DE1-CE7E-4EF0-9DFF-365F8063D953}" srcOrd="1" destOrd="0" presId="urn:microsoft.com/office/officeart/2005/8/layout/balance1"/>
    <dgm:cxn modelId="{4FCD17D3-05A5-4584-BC53-0B25AAF707DC}" type="presParOf" srcId="{85A75574-7C5F-424C-8E24-DE14236D3840}" destId="{D4270185-95FF-4CFE-9445-FF0B9307535F}" srcOrd="2" destOrd="0" presId="urn:microsoft.com/office/officeart/2005/8/layout/balance1"/>
    <dgm:cxn modelId="{5EC69447-6334-4BD3-8B96-B704B73C8E04}" type="presParOf" srcId="{D4270185-95FF-4CFE-9445-FF0B9307535F}" destId="{0051579B-C483-4036-91C4-3B4B7D0F430A}" srcOrd="0" destOrd="0" presId="urn:microsoft.com/office/officeart/2005/8/layout/balance1"/>
    <dgm:cxn modelId="{4DBCABDB-D548-441A-BDDD-9A91467C6073}" type="presParOf" srcId="{D4270185-95FF-4CFE-9445-FF0B9307535F}" destId="{3EE1EA68-24C1-4103-8E91-F802B5E569E2}" srcOrd="1" destOrd="0" presId="urn:microsoft.com/office/officeart/2005/8/layout/balance1"/>
    <dgm:cxn modelId="{1C09DE91-645F-4B5D-9C7C-9FB449CC9070}" type="presParOf" srcId="{D4270185-95FF-4CFE-9445-FF0B9307535F}" destId="{7AA0D996-7AF3-4974-AF40-1F56F34A244C}" srcOrd="2" destOrd="0" presId="urn:microsoft.com/office/officeart/2005/8/layout/balance1"/>
    <dgm:cxn modelId="{542D296E-16F4-41D1-8AD2-F7B4F266DB2A}" type="presParOf" srcId="{D4270185-95FF-4CFE-9445-FF0B9307535F}" destId="{8667A035-1547-4863-8EF3-AA19EF51D22A}" srcOrd="3" destOrd="0" presId="urn:microsoft.com/office/officeart/2005/8/layout/balance1"/>
    <dgm:cxn modelId="{873C982E-E710-4E45-BC3B-7134DA1AA5B9}" type="presParOf" srcId="{D4270185-95FF-4CFE-9445-FF0B9307535F}" destId="{A00C8928-44FF-4DF3-81E7-EF69B0813DF5}" srcOrd="4" destOrd="0" presId="urn:microsoft.com/office/officeart/2005/8/layout/balance1"/>
    <dgm:cxn modelId="{36B65079-9154-4C22-8051-CF675CBB5C01}" type="presParOf" srcId="{D4270185-95FF-4CFE-9445-FF0B9307535F}" destId="{D430110A-5A8D-4E64-89B2-09A545D9BA2C}" srcOrd="5" destOrd="0" presId="urn:microsoft.com/office/officeart/2005/8/layout/balance1"/>
    <dgm:cxn modelId="{1744EFE5-C81E-4A20-9DCC-8A50512EF999}" type="presParOf" srcId="{D4270185-95FF-4CFE-9445-FF0B9307535F}" destId="{6F8AD650-60B4-4948-A1CA-5D4A181EFAC1}" srcOrd="6" destOrd="0" presId="urn:microsoft.com/office/officeart/2005/8/layout/balance1"/>
    <dgm:cxn modelId="{BED08EEF-2CAD-4775-8E33-57545E73EBC8}" type="presParOf" srcId="{D4270185-95FF-4CFE-9445-FF0B9307535F}" destId="{02219519-8B37-47F3-9A6A-06FE019FB572}" srcOrd="7" destOrd="0" presId="urn:microsoft.com/office/officeart/2005/8/layout/balance1"/>
    <dgm:cxn modelId="{D751EC24-3D76-48DB-88C5-D2F4B95A71F6}" type="presParOf" srcId="{D4270185-95FF-4CFE-9445-FF0B9307535F}" destId="{C5838614-F7E9-4930-B0FA-91DE2B48F8CF}" srcOrd="8" destOrd="0" presId="urn:microsoft.com/office/officeart/2005/8/layout/balance1"/>
    <dgm:cxn modelId="{A35DC7C2-B121-40A3-B7C0-D9D689A9558A}" type="presParOf" srcId="{D4270185-95FF-4CFE-9445-FF0B9307535F}" destId="{45A6C45F-33B4-4B8B-A948-F1C1D02C9915}" srcOrd="9" destOrd="0" presId="urn:microsoft.com/office/officeart/2005/8/layout/balance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C4CE55C-A123-4959-9D97-E3A972EF6255}" type="doc">
      <dgm:prSet loTypeId="urn:microsoft.com/office/officeart/2005/8/layout/arrow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0AE7C11-D8A8-42C4-961F-6930E682721C}">
      <dgm:prSet phldrT="[Text]"/>
      <dgm:spPr/>
      <dgm:t>
        <a:bodyPr/>
        <a:lstStyle/>
        <a:p>
          <a:r>
            <a:rPr lang="en-MY" smtClean="0"/>
            <a:t>HOTs</a:t>
          </a:r>
          <a:endParaRPr lang="en-US"/>
        </a:p>
      </dgm:t>
    </dgm:pt>
    <dgm:pt modelId="{960F3A16-0DE4-499D-8530-D653748D82CD}" type="parTrans" cxnId="{C9487A2B-CF63-4FFF-8581-444E3B9004A3}">
      <dgm:prSet/>
      <dgm:spPr/>
      <dgm:t>
        <a:bodyPr/>
        <a:lstStyle/>
        <a:p>
          <a:endParaRPr lang="en-US"/>
        </a:p>
      </dgm:t>
    </dgm:pt>
    <dgm:pt modelId="{C723564F-0E4D-4936-AE2C-65D1D107FD0C}" type="sibTrans" cxnId="{C9487A2B-CF63-4FFF-8581-444E3B9004A3}">
      <dgm:prSet/>
      <dgm:spPr/>
      <dgm:t>
        <a:bodyPr/>
        <a:lstStyle/>
        <a:p>
          <a:endParaRPr lang="en-US"/>
        </a:p>
      </dgm:t>
    </dgm:pt>
    <dgm:pt modelId="{5202BCED-075D-4DC0-89F2-2CA16A73FB95}">
      <dgm:prSet phldrT="[Text]"/>
      <dgm:spPr/>
      <dgm:t>
        <a:bodyPr/>
        <a:lstStyle/>
        <a:p>
          <a:r>
            <a:rPr lang="en-MY" smtClean="0"/>
            <a:t>LOTs</a:t>
          </a:r>
          <a:endParaRPr lang="en-US"/>
        </a:p>
      </dgm:t>
    </dgm:pt>
    <dgm:pt modelId="{ECD618F1-5B53-4463-9C4B-696AC3860202}" type="parTrans" cxnId="{D971F51A-1976-4570-A74F-D4CE2111C6B7}">
      <dgm:prSet/>
      <dgm:spPr/>
      <dgm:t>
        <a:bodyPr/>
        <a:lstStyle/>
        <a:p>
          <a:endParaRPr lang="en-US"/>
        </a:p>
      </dgm:t>
    </dgm:pt>
    <dgm:pt modelId="{06D737EA-A010-4F11-83C9-5A9D642C7B99}" type="sibTrans" cxnId="{D971F51A-1976-4570-A74F-D4CE2111C6B7}">
      <dgm:prSet/>
      <dgm:spPr/>
      <dgm:t>
        <a:bodyPr/>
        <a:lstStyle/>
        <a:p>
          <a:endParaRPr lang="en-US"/>
        </a:p>
      </dgm:t>
    </dgm:pt>
    <dgm:pt modelId="{65D5E5F8-F773-432B-851F-410FB30E97B7}" type="pres">
      <dgm:prSet presAssocID="{0C4CE55C-A123-4959-9D97-E3A972EF6255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4BE8322-F3B6-4291-91DB-86233FB86F5C}" type="pres">
      <dgm:prSet presAssocID="{C0AE7C11-D8A8-42C4-961F-6930E682721C}" presName="upArrow" presStyleLbl="node1" presStyleIdx="0" presStyleCnt="2"/>
      <dgm:spPr/>
    </dgm:pt>
    <dgm:pt modelId="{772FBD87-7E75-443E-939F-F76B3CABEC70}" type="pres">
      <dgm:prSet presAssocID="{C0AE7C11-D8A8-42C4-961F-6930E682721C}" presName="upArrowText" presStyleLbl="revTx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3A97691-00A5-47BB-AA8A-F538A5F6D68C}" type="pres">
      <dgm:prSet presAssocID="{5202BCED-075D-4DC0-89F2-2CA16A73FB95}" presName="downArrow" presStyleLbl="node1" presStyleIdx="1" presStyleCnt="2"/>
      <dgm:spPr/>
    </dgm:pt>
    <dgm:pt modelId="{DC9C13D4-A1C1-4D71-A2BD-0C86F762FD88}" type="pres">
      <dgm:prSet presAssocID="{5202BCED-075D-4DC0-89F2-2CA16A73FB95}" presName="downArrowText" presStyleLbl="revTx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971F51A-1976-4570-A74F-D4CE2111C6B7}" srcId="{0C4CE55C-A123-4959-9D97-E3A972EF6255}" destId="{5202BCED-075D-4DC0-89F2-2CA16A73FB95}" srcOrd="1" destOrd="0" parTransId="{ECD618F1-5B53-4463-9C4B-696AC3860202}" sibTransId="{06D737EA-A010-4F11-83C9-5A9D642C7B99}"/>
    <dgm:cxn modelId="{C9487A2B-CF63-4FFF-8581-444E3B9004A3}" srcId="{0C4CE55C-A123-4959-9D97-E3A972EF6255}" destId="{C0AE7C11-D8A8-42C4-961F-6930E682721C}" srcOrd="0" destOrd="0" parTransId="{960F3A16-0DE4-499D-8530-D653748D82CD}" sibTransId="{C723564F-0E4D-4936-AE2C-65D1D107FD0C}"/>
    <dgm:cxn modelId="{59860F46-24A8-4A9B-8346-2D6329EAF9FD}" type="presOf" srcId="{5202BCED-075D-4DC0-89F2-2CA16A73FB95}" destId="{DC9C13D4-A1C1-4D71-A2BD-0C86F762FD88}" srcOrd="0" destOrd="0" presId="urn:microsoft.com/office/officeart/2005/8/layout/arrow4"/>
    <dgm:cxn modelId="{688B6C18-3D79-4541-941A-68E0C7233D4D}" type="presOf" srcId="{C0AE7C11-D8A8-42C4-961F-6930E682721C}" destId="{772FBD87-7E75-443E-939F-F76B3CABEC70}" srcOrd="0" destOrd="0" presId="urn:microsoft.com/office/officeart/2005/8/layout/arrow4"/>
    <dgm:cxn modelId="{1EA5CE1A-99BC-427B-A3B0-7953CC0409FE}" type="presOf" srcId="{0C4CE55C-A123-4959-9D97-E3A972EF6255}" destId="{65D5E5F8-F773-432B-851F-410FB30E97B7}" srcOrd="0" destOrd="0" presId="urn:microsoft.com/office/officeart/2005/8/layout/arrow4"/>
    <dgm:cxn modelId="{EDE4C000-2060-4619-8FF6-2B2A00386595}" type="presParOf" srcId="{65D5E5F8-F773-432B-851F-410FB30E97B7}" destId="{D4BE8322-F3B6-4291-91DB-86233FB86F5C}" srcOrd="0" destOrd="0" presId="urn:microsoft.com/office/officeart/2005/8/layout/arrow4"/>
    <dgm:cxn modelId="{598B2731-A596-4043-BF86-FB9B80718AA6}" type="presParOf" srcId="{65D5E5F8-F773-432B-851F-410FB30E97B7}" destId="{772FBD87-7E75-443E-939F-F76B3CABEC70}" srcOrd="1" destOrd="0" presId="urn:microsoft.com/office/officeart/2005/8/layout/arrow4"/>
    <dgm:cxn modelId="{E9B5D93F-D19C-4C9A-92AF-69988B47A601}" type="presParOf" srcId="{65D5E5F8-F773-432B-851F-410FB30E97B7}" destId="{23A97691-00A5-47BB-AA8A-F538A5F6D68C}" srcOrd="2" destOrd="0" presId="urn:microsoft.com/office/officeart/2005/8/layout/arrow4"/>
    <dgm:cxn modelId="{A50D01BE-94F1-4D3D-BB24-1D6C250AF1A6}" type="presParOf" srcId="{65D5E5F8-F773-432B-851F-410FB30E97B7}" destId="{DC9C13D4-A1C1-4D71-A2BD-0C86F762FD88}" srcOrd="3" destOrd="0" presId="urn:microsoft.com/office/officeart/2005/8/layout/arrow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5728F7D-3BB0-4C2F-8539-1B6574B3C279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1DF181E-C63D-4DD4-8B75-0CA3AB1D8D58}">
      <dgm:prSet phldrT="[Text]"/>
      <dgm:spPr/>
      <dgm:t>
        <a:bodyPr/>
        <a:lstStyle/>
        <a:p>
          <a:r>
            <a:rPr lang="en-MY" smtClean="0"/>
            <a:t>TIMSS</a:t>
          </a:r>
          <a:endParaRPr lang="en-US"/>
        </a:p>
      </dgm:t>
    </dgm:pt>
    <dgm:pt modelId="{16337191-1359-4B49-B85A-BDFB2D7F709C}" type="parTrans" cxnId="{A2B70E68-00EE-4252-9630-E701278228CD}">
      <dgm:prSet/>
      <dgm:spPr/>
      <dgm:t>
        <a:bodyPr/>
        <a:lstStyle/>
        <a:p>
          <a:endParaRPr lang="en-US"/>
        </a:p>
      </dgm:t>
    </dgm:pt>
    <dgm:pt modelId="{8383FFA5-65D8-40DC-AD10-FA20A3044CDE}" type="sibTrans" cxnId="{A2B70E68-00EE-4252-9630-E701278228CD}">
      <dgm:prSet/>
      <dgm:spPr/>
      <dgm:t>
        <a:bodyPr/>
        <a:lstStyle/>
        <a:p>
          <a:endParaRPr lang="en-US"/>
        </a:p>
      </dgm:t>
    </dgm:pt>
    <dgm:pt modelId="{CEB65740-7562-487E-B53E-2048BF475B2D}">
      <dgm:prSet phldrT="[Text]"/>
      <dgm:spPr/>
      <dgm:t>
        <a:bodyPr/>
        <a:lstStyle/>
        <a:p>
          <a:r>
            <a:rPr lang="en-MY" smtClean="0"/>
            <a:t>PISA</a:t>
          </a:r>
          <a:endParaRPr lang="en-US"/>
        </a:p>
      </dgm:t>
    </dgm:pt>
    <dgm:pt modelId="{0F4C8E03-6BDB-4FF1-BB5B-BF1F811701B0}" type="parTrans" cxnId="{D585FFBE-7605-4365-96BC-A097804D3B17}">
      <dgm:prSet/>
      <dgm:spPr/>
      <dgm:t>
        <a:bodyPr/>
        <a:lstStyle/>
        <a:p>
          <a:endParaRPr lang="en-US"/>
        </a:p>
      </dgm:t>
    </dgm:pt>
    <dgm:pt modelId="{806BBF16-4AEE-4AC4-883B-F4DCEC408426}" type="sibTrans" cxnId="{D585FFBE-7605-4365-96BC-A097804D3B17}">
      <dgm:prSet/>
      <dgm:spPr/>
      <dgm:t>
        <a:bodyPr/>
        <a:lstStyle/>
        <a:p>
          <a:endParaRPr lang="en-US"/>
        </a:p>
      </dgm:t>
    </dgm:pt>
    <dgm:pt modelId="{7EAE5394-A538-4E5E-AEB9-762C5B555F3D}" type="pres">
      <dgm:prSet presAssocID="{B5728F7D-3BB0-4C2F-8539-1B6574B3C279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753C3CE-BFB3-4FD7-8E3C-7047B52D97E8}" type="pres">
      <dgm:prSet presAssocID="{81DF181E-C63D-4DD4-8B75-0CA3AB1D8D58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3C7C83-C54C-4D1B-B025-AA8C5D335936}" type="pres">
      <dgm:prSet presAssocID="{8383FFA5-65D8-40DC-AD10-FA20A3044CDE}" presName="sibTrans" presStyleCnt="0"/>
      <dgm:spPr/>
    </dgm:pt>
    <dgm:pt modelId="{12B62358-2C47-456E-BAF3-CE4AE830ADF4}" type="pres">
      <dgm:prSet presAssocID="{CEB65740-7562-487E-B53E-2048BF475B2D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6D44AFB-865E-416B-AE6F-F239A99A4B13}" type="presOf" srcId="{B5728F7D-3BB0-4C2F-8539-1B6574B3C279}" destId="{7EAE5394-A538-4E5E-AEB9-762C5B555F3D}" srcOrd="0" destOrd="0" presId="urn:microsoft.com/office/officeart/2005/8/layout/default"/>
    <dgm:cxn modelId="{1CA3AF6D-1F8E-4625-83FC-98FE60974CB9}" type="presOf" srcId="{81DF181E-C63D-4DD4-8B75-0CA3AB1D8D58}" destId="{9753C3CE-BFB3-4FD7-8E3C-7047B52D97E8}" srcOrd="0" destOrd="0" presId="urn:microsoft.com/office/officeart/2005/8/layout/default"/>
    <dgm:cxn modelId="{D585FFBE-7605-4365-96BC-A097804D3B17}" srcId="{B5728F7D-3BB0-4C2F-8539-1B6574B3C279}" destId="{CEB65740-7562-487E-B53E-2048BF475B2D}" srcOrd="1" destOrd="0" parTransId="{0F4C8E03-6BDB-4FF1-BB5B-BF1F811701B0}" sibTransId="{806BBF16-4AEE-4AC4-883B-F4DCEC408426}"/>
    <dgm:cxn modelId="{A2B70E68-00EE-4252-9630-E701278228CD}" srcId="{B5728F7D-3BB0-4C2F-8539-1B6574B3C279}" destId="{81DF181E-C63D-4DD4-8B75-0CA3AB1D8D58}" srcOrd="0" destOrd="0" parTransId="{16337191-1359-4B49-B85A-BDFB2D7F709C}" sibTransId="{8383FFA5-65D8-40DC-AD10-FA20A3044CDE}"/>
    <dgm:cxn modelId="{1E17EC4E-960B-4402-AE99-673E52FB3FAD}" type="presOf" srcId="{CEB65740-7562-487E-B53E-2048BF475B2D}" destId="{12B62358-2C47-456E-BAF3-CE4AE830ADF4}" srcOrd="0" destOrd="0" presId="urn:microsoft.com/office/officeart/2005/8/layout/default"/>
    <dgm:cxn modelId="{B0885C47-EDAE-4300-A693-936FA5C5BE1C}" type="presParOf" srcId="{7EAE5394-A538-4E5E-AEB9-762C5B555F3D}" destId="{9753C3CE-BFB3-4FD7-8E3C-7047B52D97E8}" srcOrd="0" destOrd="0" presId="urn:microsoft.com/office/officeart/2005/8/layout/default"/>
    <dgm:cxn modelId="{C0BE14B5-DC20-410A-AEDB-3DEB152BDD9A}" type="presParOf" srcId="{7EAE5394-A538-4E5E-AEB9-762C5B555F3D}" destId="{DF3C7C83-C54C-4D1B-B025-AA8C5D335936}" srcOrd="1" destOrd="0" presId="urn:microsoft.com/office/officeart/2005/8/layout/default"/>
    <dgm:cxn modelId="{5F5794FB-3EDF-49C6-9475-A1ADF620BC4F}" type="presParOf" srcId="{7EAE5394-A538-4E5E-AEB9-762C5B555F3D}" destId="{12B62358-2C47-456E-BAF3-CE4AE830ADF4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B935A4A-594E-44FF-8C3B-227915482F23}" type="doc">
      <dgm:prSet loTypeId="urn:microsoft.com/office/officeart/2005/8/layout/arrow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A14AE2-D540-4F9D-88BD-E8C586694615}">
      <dgm:prSet phldrT="[Text]" custT="1"/>
      <dgm:spPr/>
      <dgm:t>
        <a:bodyPr/>
        <a:lstStyle/>
        <a:p>
          <a:r>
            <a:rPr lang="en-MY" sz="7200" smtClean="0">
              <a:solidFill>
                <a:schemeClr val="bg1"/>
              </a:solidFill>
            </a:rPr>
            <a:t>Urban</a:t>
          </a:r>
          <a:endParaRPr lang="en-US" sz="7200">
            <a:solidFill>
              <a:schemeClr val="bg1"/>
            </a:solidFill>
          </a:endParaRPr>
        </a:p>
      </dgm:t>
    </dgm:pt>
    <dgm:pt modelId="{805EAE79-8F74-4FB1-AF67-C5EDFB09F372}" type="parTrans" cxnId="{16BA80B1-B78A-4486-BB68-0E08ADD70556}">
      <dgm:prSet/>
      <dgm:spPr/>
      <dgm:t>
        <a:bodyPr/>
        <a:lstStyle/>
        <a:p>
          <a:endParaRPr lang="en-US"/>
        </a:p>
      </dgm:t>
    </dgm:pt>
    <dgm:pt modelId="{8BB53234-C4F3-43D6-95C0-D1DBFE91E625}" type="sibTrans" cxnId="{16BA80B1-B78A-4486-BB68-0E08ADD70556}">
      <dgm:prSet/>
      <dgm:spPr/>
      <dgm:t>
        <a:bodyPr/>
        <a:lstStyle/>
        <a:p>
          <a:endParaRPr lang="en-US"/>
        </a:p>
      </dgm:t>
    </dgm:pt>
    <dgm:pt modelId="{B2E20A8B-C1F2-4766-8F90-19AD0A8F9FFB}">
      <dgm:prSet phldrT="[Text]" custT="1"/>
      <dgm:spPr/>
      <dgm:t>
        <a:bodyPr/>
        <a:lstStyle/>
        <a:p>
          <a:r>
            <a:rPr lang="en-MY" sz="7200" smtClean="0">
              <a:solidFill>
                <a:schemeClr val="bg1"/>
              </a:solidFill>
            </a:rPr>
            <a:t>Rural</a:t>
          </a:r>
          <a:endParaRPr lang="en-US" sz="7200">
            <a:solidFill>
              <a:schemeClr val="bg1"/>
            </a:solidFill>
          </a:endParaRPr>
        </a:p>
      </dgm:t>
    </dgm:pt>
    <dgm:pt modelId="{352A8C78-9847-46AE-985E-12D37364C2F7}" type="parTrans" cxnId="{C9255480-BF9B-4142-A245-79EFB87BBB4A}">
      <dgm:prSet/>
      <dgm:spPr/>
      <dgm:t>
        <a:bodyPr/>
        <a:lstStyle/>
        <a:p>
          <a:endParaRPr lang="en-US"/>
        </a:p>
      </dgm:t>
    </dgm:pt>
    <dgm:pt modelId="{45B4D4C4-080B-4589-AC00-272A52319E60}" type="sibTrans" cxnId="{C9255480-BF9B-4142-A245-79EFB87BBB4A}">
      <dgm:prSet/>
      <dgm:spPr/>
      <dgm:t>
        <a:bodyPr/>
        <a:lstStyle/>
        <a:p>
          <a:endParaRPr lang="en-US"/>
        </a:p>
      </dgm:t>
    </dgm:pt>
    <dgm:pt modelId="{68263C14-474F-4237-A415-0EEA3E61E95F}" type="pres">
      <dgm:prSet presAssocID="{CB935A4A-594E-44FF-8C3B-227915482F23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A1E8A2E-46ED-4E9E-A595-9C76B50F7287}" type="pres">
      <dgm:prSet presAssocID="{CB935A4A-594E-44FF-8C3B-227915482F23}" presName="divider" presStyleLbl="fgShp" presStyleIdx="0" presStyleCnt="1"/>
      <dgm:spPr/>
    </dgm:pt>
    <dgm:pt modelId="{471CD6DA-AF8E-4BE8-ADF3-309589123A1C}" type="pres">
      <dgm:prSet presAssocID="{50A14AE2-D540-4F9D-88BD-E8C586694615}" presName="downArrow" presStyleLbl="node1" presStyleIdx="0" presStyleCnt="2"/>
      <dgm:spPr/>
    </dgm:pt>
    <dgm:pt modelId="{1A69E0A7-DADA-4B0A-ABEE-36459255B189}" type="pres">
      <dgm:prSet presAssocID="{50A14AE2-D540-4F9D-88BD-E8C586694615}" presName="downArrow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B89FE55-AB11-402B-95C6-CDD57F4CA59B}" type="pres">
      <dgm:prSet presAssocID="{B2E20A8B-C1F2-4766-8F90-19AD0A8F9FFB}" presName="upArrow" presStyleLbl="node1" presStyleIdx="1" presStyleCnt="2"/>
      <dgm:spPr/>
    </dgm:pt>
    <dgm:pt modelId="{2B69AF57-02DE-4DA3-88AD-20EBA136D78F}" type="pres">
      <dgm:prSet presAssocID="{B2E20A8B-C1F2-4766-8F90-19AD0A8F9FFB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3D439A4-06DA-48F6-A920-2BAE9251E5AE}" type="presOf" srcId="{50A14AE2-D540-4F9D-88BD-E8C586694615}" destId="{1A69E0A7-DADA-4B0A-ABEE-36459255B189}" srcOrd="0" destOrd="0" presId="urn:microsoft.com/office/officeart/2005/8/layout/arrow3"/>
    <dgm:cxn modelId="{2D83096E-28AF-40D4-9D4E-767D9F467034}" type="presOf" srcId="{CB935A4A-594E-44FF-8C3B-227915482F23}" destId="{68263C14-474F-4237-A415-0EEA3E61E95F}" srcOrd="0" destOrd="0" presId="urn:microsoft.com/office/officeart/2005/8/layout/arrow3"/>
    <dgm:cxn modelId="{C9255480-BF9B-4142-A245-79EFB87BBB4A}" srcId="{CB935A4A-594E-44FF-8C3B-227915482F23}" destId="{B2E20A8B-C1F2-4766-8F90-19AD0A8F9FFB}" srcOrd="1" destOrd="0" parTransId="{352A8C78-9847-46AE-985E-12D37364C2F7}" sibTransId="{45B4D4C4-080B-4589-AC00-272A52319E60}"/>
    <dgm:cxn modelId="{16BA80B1-B78A-4486-BB68-0E08ADD70556}" srcId="{CB935A4A-594E-44FF-8C3B-227915482F23}" destId="{50A14AE2-D540-4F9D-88BD-E8C586694615}" srcOrd="0" destOrd="0" parTransId="{805EAE79-8F74-4FB1-AF67-C5EDFB09F372}" sibTransId="{8BB53234-C4F3-43D6-95C0-D1DBFE91E625}"/>
    <dgm:cxn modelId="{683E2B53-A243-45DF-A1C3-3EA15FDF6057}" type="presOf" srcId="{B2E20A8B-C1F2-4766-8F90-19AD0A8F9FFB}" destId="{2B69AF57-02DE-4DA3-88AD-20EBA136D78F}" srcOrd="0" destOrd="0" presId="urn:microsoft.com/office/officeart/2005/8/layout/arrow3"/>
    <dgm:cxn modelId="{1D3C0226-E4E0-4846-BFB4-5BC2877EE102}" type="presParOf" srcId="{68263C14-474F-4237-A415-0EEA3E61E95F}" destId="{FA1E8A2E-46ED-4E9E-A595-9C76B50F7287}" srcOrd="0" destOrd="0" presId="urn:microsoft.com/office/officeart/2005/8/layout/arrow3"/>
    <dgm:cxn modelId="{608D33BC-B06E-4B54-9917-38A533F1D3A1}" type="presParOf" srcId="{68263C14-474F-4237-A415-0EEA3E61E95F}" destId="{471CD6DA-AF8E-4BE8-ADF3-309589123A1C}" srcOrd="1" destOrd="0" presId="urn:microsoft.com/office/officeart/2005/8/layout/arrow3"/>
    <dgm:cxn modelId="{F8E75642-8F5A-46DD-9B57-F3DCD97542B1}" type="presParOf" srcId="{68263C14-474F-4237-A415-0EEA3E61E95F}" destId="{1A69E0A7-DADA-4B0A-ABEE-36459255B189}" srcOrd="2" destOrd="0" presId="urn:microsoft.com/office/officeart/2005/8/layout/arrow3"/>
    <dgm:cxn modelId="{23DA7201-E775-43C3-BE88-CA6DD48AB9DA}" type="presParOf" srcId="{68263C14-474F-4237-A415-0EEA3E61E95F}" destId="{AB89FE55-AB11-402B-95C6-CDD57F4CA59B}" srcOrd="3" destOrd="0" presId="urn:microsoft.com/office/officeart/2005/8/layout/arrow3"/>
    <dgm:cxn modelId="{47FB967F-5582-4B97-A704-892BF3903E6C}" type="presParOf" srcId="{68263C14-474F-4237-A415-0EEA3E61E95F}" destId="{2B69AF57-02DE-4DA3-88AD-20EBA136D78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C49BCB-1DC2-4F44-A730-5DA236B8B30C}">
      <dsp:nvSpPr>
        <dsp:cNvPr id="0" name=""/>
        <dsp:cNvSpPr/>
      </dsp:nvSpPr>
      <dsp:spPr>
        <a:xfrm>
          <a:off x="317591" y="0"/>
          <a:ext cx="9008346" cy="3323482"/>
        </a:xfrm>
        <a:prstGeom prst="rightArrow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3A59C6-0DF0-4C77-BFF7-58BE4EC6A43D}">
      <dsp:nvSpPr>
        <dsp:cNvPr id="0" name=""/>
        <dsp:cNvSpPr/>
      </dsp:nvSpPr>
      <dsp:spPr>
        <a:xfrm>
          <a:off x="553009" y="1011521"/>
          <a:ext cx="3863754" cy="13293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300" kern="1200" smtClean="0"/>
            <a:t>Outcome based education</a:t>
          </a:r>
          <a:endParaRPr lang="en-US" sz="3300" kern="1200"/>
        </a:p>
      </dsp:txBody>
      <dsp:txXfrm>
        <a:off x="617905" y="1076417"/>
        <a:ext cx="3733962" cy="1199600"/>
      </dsp:txXfrm>
    </dsp:sp>
    <dsp:sp modelId="{B0EAE1C4-5D96-41AF-B9D9-746FE6CE9172}">
      <dsp:nvSpPr>
        <dsp:cNvPr id="0" name=""/>
        <dsp:cNvSpPr/>
      </dsp:nvSpPr>
      <dsp:spPr>
        <a:xfrm>
          <a:off x="4736908" y="997456"/>
          <a:ext cx="3863754" cy="132939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300" kern="1200" smtClean="0"/>
            <a:t>Standard-based education</a:t>
          </a:r>
          <a:endParaRPr lang="en-US" sz="3300" kern="1200"/>
        </a:p>
      </dsp:txBody>
      <dsp:txXfrm>
        <a:off x="4801804" y="1062352"/>
        <a:ext cx="3733962" cy="119960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38B9AB-7205-499D-8A54-DDB0425C0872}">
      <dsp:nvSpPr>
        <dsp:cNvPr id="0" name=""/>
        <dsp:cNvSpPr/>
      </dsp:nvSpPr>
      <dsp:spPr>
        <a:xfrm rot="16200000">
          <a:off x="1296537" y="-1296537"/>
          <a:ext cx="3070746" cy="5663821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2928" tIns="312928" rIns="312928" bIns="312928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4400" kern="1200" smtClean="0"/>
            <a:t>School Assessment</a:t>
          </a:r>
          <a:endParaRPr lang="en-US" sz="4400" kern="1200"/>
        </a:p>
      </dsp:txBody>
      <dsp:txXfrm rot="5400000">
        <a:off x="-1" y="1"/>
        <a:ext cx="5663821" cy="2303059"/>
      </dsp:txXfrm>
    </dsp:sp>
    <dsp:sp modelId="{F998B822-FE5E-464A-842F-2C66B19DBCD0}">
      <dsp:nvSpPr>
        <dsp:cNvPr id="0" name=""/>
        <dsp:cNvSpPr/>
      </dsp:nvSpPr>
      <dsp:spPr>
        <a:xfrm>
          <a:off x="5663821" y="0"/>
          <a:ext cx="5663821" cy="3070746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/>
            <a:t>Physical activities, sports, and co-curricular Assessment</a:t>
          </a:r>
          <a:endParaRPr lang="en-US" sz="7200" kern="1200">
            <a:solidFill>
              <a:srgbClr val="FF0000"/>
            </a:solidFill>
          </a:endParaRPr>
        </a:p>
      </dsp:txBody>
      <dsp:txXfrm>
        <a:off x="5663821" y="0"/>
        <a:ext cx="5663821" cy="2303059"/>
      </dsp:txXfrm>
    </dsp:sp>
    <dsp:sp modelId="{40A3AAE2-09E8-4589-BD57-2577130FC97A}">
      <dsp:nvSpPr>
        <dsp:cNvPr id="0" name=""/>
        <dsp:cNvSpPr/>
      </dsp:nvSpPr>
      <dsp:spPr>
        <a:xfrm rot="10800000">
          <a:off x="0" y="3070746"/>
          <a:ext cx="5663821" cy="3070746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0256" tIns="270256" rIns="270256" bIns="270256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sz="3800" kern="1200" smtClean="0"/>
            <a:t>Psychometric Assessment</a:t>
          </a:r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800" kern="1200"/>
        </a:p>
      </dsp:txBody>
      <dsp:txXfrm rot="10800000">
        <a:off x="0" y="3838432"/>
        <a:ext cx="5663821" cy="2303059"/>
      </dsp:txXfrm>
    </dsp:sp>
    <dsp:sp modelId="{02D1CCC2-B74E-434B-B4E6-44ED5F239B19}">
      <dsp:nvSpPr>
        <dsp:cNvPr id="0" name=""/>
        <dsp:cNvSpPr/>
      </dsp:nvSpPr>
      <dsp:spPr>
        <a:xfrm rot="5400000">
          <a:off x="6960359" y="1774208"/>
          <a:ext cx="3070746" cy="5663821"/>
        </a:xfrm>
        <a:prstGeom prst="round1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2064" tIns="512064" rIns="512064" bIns="512064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MY" sz="7200" b="0" kern="1200" smtClean="0">
              <a:solidFill>
                <a:srgbClr val="FF0000"/>
              </a:solidFill>
            </a:rPr>
            <a:t>Central Assessment</a:t>
          </a:r>
          <a:endParaRPr lang="en-US" sz="7200" b="0" kern="1200" smtClean="0">
            <a:solidFill>
              <a:srgbClr val="FF0000"/>
            </a:solidFill>
          </a:endParaRP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kern="1200"/>
        </a:p>
      </dsp:txBody>
      <dsp:txXfrm rot="-5400000">
        <a:off x="5663821" y="3838432"/>
        <a:ext cx="5663821" cy="2303059"/>
      </dsp:txXfrm>
    </dsp:sp>
    <dsp:sp modelId="{2180AED5-3636-4056-9F81-3819AB4F9524}">
      <dsp:nvSpPr>
        <dsp:cNvPr id="0" name=""/>
        <dsp:cNvSpPr/>
      </dsp:nvSpPr>
      <dsp:spPr>
        <a:xfrm>
          <a:off x="2265528" y="2177558"/>
          <a:ext cx="6796585" cy="1786375"/>
        </a:xfrm>
        <a:prstGeom prst="roundRect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4780" tIns="144780" rIns="144780" bIns="144780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800" kern="1200" smtClean="0"/>
            <a:t>School Based Assessment</a:t>
          </a:r>
          <a:endParaRPr lang="en-US" sz="3800" kern="1200"/>
        </a:p>
      </dsp:txBody>
      <dsp:txXfrm>
        <a:off x="2352732" y="2264762"/>
        <a:ext cx="6622177" cy="1611967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252614-EB35-44EF-A98D-6CCD770BA1D3}">
      <dsp:nvSpPr>
        <dsp:cNvPr id="0" name=""/>
        <dsp:cNvSpPr/>
      </dsp:nvSpPr>
      <dsp:spPr>
        <a:xfrm rot="10800000">
          <a:off x="0" y="0"/>
          <a:ext cx="5901812" cy="1571625"/>
        </a:xfrm>
        <a:prstGeom prst="trapezoid">
          <a:avLst>
            <a:gd name="adj" fmla="val 469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63500" rIns="63500" bIns="635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000" kern="1200" smtClean="0">
              <a:solidFill>
                <a:schemeClr val="bg1"/>
              </a:solidFill>
            </a:rPr>
            <a:t>STPM</a:t>
          </a:r>
          <a:endParaRPr lang="en-US" sz="5000" kern="1200">
            <a:solidFill>
              <a:schemeClr val="bg1"/>
            </a:solidFill>
          </a:endParaRPr>
        </a:p>
      </dsp:txBody>
      <dsp:txXfrm rot="-10800000">
        <a:off x="1032817" y="0"/>
        <a:ext cx="3836178" cy="1571625"/>
      </dsp:txXfrm>
    </dsp:sp>
    <dsp:sp modelId="{754AB955-7DF0-42F3-9B37-972187CAC778}">
      <dsp:nvSpPr>
        <dsp:cNvPr id="0" name=""/>
        <dsp:cNvSpPr/>
      </dsp:nvSpPr>
      <dsp:spPr>
        <a:xfrm rot="10800000">
          <a:off x="737726" y="1571625"/>
          <a:ext cx="4426359" cy="1571625"/>
        </a:xfrm>
        <a:prstGeom prst="trapezoid">
          <a:avLst>
            <a:gd name="adj" fmla="val 469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63500" rIns="63500" bIns="635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000" kern="1200" smtClean="0">
              <a:solidFill>
                <a:schemeClr val="bg1"/>
              </a:solidFill>
            </a:rPr>
            <a:t>SPM</a:t>
          </a:r>
          <a:endParaRPr lang="en-US" sz="5000" kern="1200">
            <a:solidFill>
              <a:schemeClr val="bg1"/>
            </a:solidFill>
          </a:endParaRPr>
        </a:p>
      </dsp:txBody>
      <dsp:txXfrm rot="-10800000">
        <a:off x="1512339" y="1571625"/>
        <a:ext cx="2877133" cy="1571625"/>
      </dsp:txXfrm>
    </dsp:sp>
    <dsp:sp modelId="{B382BBB5-A9C8-4861-B25A-56D81D873F79}">
      <dsp:nvSpPr>
        <dsp:cNvPr id="0" name=""/>
        <dsp:cNvSpPr/>
      </dsp:nvSpPr>
      <dsp:spPr>
        <a:xfrm rot="10800000">
          <a:off x="1475453" y="3143250"/>
          <a:ext cx="2950906" cy="1571625"/>
        </a:xfrm>
        <a:prstGeom prst="trapezoid">
          <a:avLst>
            <a:gd name="adj" fmla="val 4694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63500" rIns="63500" bIns="635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000" kern="1200" smtClean="0">
              <a:solidFill>
                <a:schemeClr val="bg1"/>
              </a:solidFill>
            </a:rPr>
            <a:t>PT3</a:t>
          </a:r>
          <a:endParaRPr lang="en-US" sz="5000" kern="1200">
            <a:solidFill>
              <a:schemeClr val="bg1"/>
            </a:solidFill>
          </a:endParaRPr>
        </a:p>
      </dsp:txBody>
      <dsp:txXfrm rot="-10800000">
        <a:off x="1991861" y="3143250"/>
        <a:ext cx="1918089" cy="1571625"/>
      </dsp:txXfrm>
    </dsp:sp>
    <dsp:sp modelId="{66D6AF70-7CAB-4519-94A2-049EC26C230D}">
      <dsp:nvSpPr>
        <dsp:cNvPr id="0" name=""/>
        <dsp:cNvSpPr/>
      </dsp:nvSpPr>
      <dsp:spPr>
        <a:xfrm rot="10800000">
          <a:off x="2213179" y="4714875"/>
          <a:ext cx="1475453" cy="1571625"/>
        </a:xfrm>
        <a:prstGeom prst="trapezoid">
          <a:avLst>
            <a:gd name="adj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0" tIns="63500" rIns="63500" bIns="63500" numCol="1" spcCol="1270" anchor="ctr" anchorCtr="0">
          <a:noAutofit/>
        </a:bodyPr>
        <a:lstStyle/>
        <a:p>
          <a:pPr lvl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000" kern="1200" smtClean="0">
              <a:solidFill>
                <a:schemeClr val="bg1"/>
              </a:solidFill>
            </a:rPr>
            <a:t>UPSR</a:t>
          </a:r>
          <a:endParaRPr lang="en-US" sz="5000" kern="1200">
            <a:solidFill>
              <a:schemeClr val="bg1"/>
            </a:solidFill>
          </a:endParaRPr>
        </a:p>
      </dsp:txBody>
      <dsp:txXfrm rot="-10800000">
        <a:off x="2213179" y="4714875"/>
        <a:ext cx="1475453" cy="1571625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23709C-46FE-4F81-8241-F6C46F5121DB}">
      <dsp:nvSpPr>
        <dsp:cNvPr id="0" name=""/>
        <dsp:cNvSpPr/>
      </dsp:nvSpPr>
      <dsp:spPr>
        <a:xfrm>
          <a:off x="523759" y="1924"/>
          <a:ext cx="9897985" cy="1157027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88000"/>
                <a:lumMod val="88000"/>
              </a:schemeClr>
              <a:schemeClr val="accent1">
                <a:hueOff val="0"/>
                <a:satOff val="0"/>
                <a:lumOff val="0"/>
                <a:alphaOff val="0"/>
              </a:schemeClr>
            </a:duotone>
          </a:blip>
          <a:tile tx="0" ty="0" sx="100000" sy="100000" flip="none" algn="tl"/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7160" tIns="91440" rIns="137160" bIns="91440" numCol="1" spcCol="1270" anchor="ctr" anchorCtr="0">
          <a:noAutofit/>
        </a:bodyPr>
        <a:lstStyle/>
        <a:p>
          <a:pPr lvl="0" algn="ctr" defTabSz="3200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7200" kern="1200" smtClean="0"/>
            <a:t>Rationale</a:t>
          </a:r>
          <a:endParaRPr lang="en-US" sz="7200" kern="1200"/>
        </a:p>
      </dsp:txBody>
      <dsp:txXfrm>
        <a:off x="557647" y="35812"/>
        <a:ext cx="9830209" cy="1089251"/>
      </dsp:txXfrm>
    </dsp:sp>
    <dsp:sp modelId="{CD6A43A5-A37B-41F3-AFB6-212F8E0E3F3A}">
      <dsp:nvSpPr>
        <dsp:cNvPr id="0" name=""/>
        <dsp:cNvSpPr/>
      </dsp:nvSpPr>
      <dsp:spPr>
        <a:xfrm>
          <a:off x="523759" y="1367216"/>
          <a:ext cx="1157027" cy="11570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65BA5E1-896C-43A9-9866-07CD6D55B025}">
      <dsp:nvSpPr>
        <dsp:cNvPr id="0" name=""/>
        <dsp:cNvSpPr/>
      </dsp:nvSpPr>
      <dsp:spPr>
        <a:xfrm>
          <a:off x="1750208" y="1367216"/>
          <a:ext cx="8671535" cy="1157027"/>
        </a:xfrm>
        <a:prstGeom prst="roundRect">
          <a:avLst>
            <a:gd name="adj" fmla="val 1667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88000"/>
                <a:lumMod val="88000"/>
              </a:schemeClr>
              <a:schemeClr val="accent1">
                <a:hueOff val="0"/>
                <a:satOff val="0"/>
                <a:lumOff val="0"/>
                <a:alphaOff val="0"/>
              </a:schemeClr>
            </a:duotone>
          </a:blip>
          <a:tile tx="0" ty="0" sx="100000" sy="100000" flip="none" algn="tl"/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/>
            <a:t>…developed and used as benchmarking documents</a:t>
          </a:r>
          <a:endParaRPr lang="en-US" sz="3200" kern="1200"/>
        </a:p>
      </dsp:txBody>
      <dsp:txXfrm>
        <a:off x="1806700" y="1423708"/>
        <a:ext cx="8558551" cy="1044043"/>
      </dsp:txXfrm>
    </dsp:sp>
    <dsp:sp modelId="{597F94B1-5A33-4942-949D-16E053BEBEBF}">
      <dsp:nvSpPr>
        <dsp:cNvPr id="0" name=""/>
        <dsp:cNvSpPr/>
      </dsp:nvSpPr>
      <dsp:spPr>
        <a:xfrm>
          <a:off x="523759" y="2663087"/>
          <a:ext cx="1157027" cy="11570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383FE84-5454-420F-844C-1959F57F8ADC}">
      <dsp:nvSpPr>
        <dsp:cNvPr id="0" name=""/>
        <dsp:cNvSpPr/>
      </dsp:nvSpPr>
      <dsp:spPr>
        <a:xfrm>
          <a:off x="1750208" y="2663087"/>
          <a:ext cx="8671535" cy="1157027"/>
        </a:xfrm>
        <a:prstGeom prst="roundRect">
          <a:avLst>
            <a:gd name="adj" fmla="val 1667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88000"/>
                <a:lumMod val="88000"/>
              </a:schemeClr>
              <a:schemeClr val="accent1">
                <a:hueOff val="0"/>
                <a:satOff val="0"/>
                <a:lumOff val="0"/>
                <a:alphaOff val="0"/>
              </a:schemeClr>
            </a:duotone>
          </a:blip>
          <a:tile tx="0" ty="0" sx="100000" sy="100000" flip="none" algn="tl"/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/>
            <a:t>…must be careful so that the SEA-BES document is not becoming the definite agreement</a:t>
          </a:r>
          <a:endParaRPr lang="en-US" sz="3200" kern="1200"/>
        </a:p>
      </dsp:txBody>
      <dsp:txXfrm>
        <a:off x="1806700" y="2719579"/>
        <a:ext cx="8558551" cy="1044043"/>
      </dsp:txXfrm>
    </dsp:sp>
    <dsp:sp modelId="{4FCE5C01-71CC-42D5-B5B7-6B5254286943}">
      <dsp:nvSpPr>
        <dsp:cNvPr id="0" name=""/>
        <dsp:cNvSpPr/>
      </dsp:nvSpPr>
      <dsp:spPr>
        <a:xfrm>
          <a:off x="523759" y="3958959"/>
          <a:ext cx="1157027" cy="1157027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5A89447-821C-4AD0-B984-897612CBB163}">
      <dsp:nvSpPr>
        <dsp:cNvPr id="0" name=""/>
        <dsp:cNvSpPr/>
      </dsp:nvSpPr>
      <dsp:spPr>
        <a:xfrm>
          <a:off x="1750208" y="3958959"/>
          <a:ext cx="8671535" cy="1157027"/>
        </a:xfrm>
        <a:prstGeom prst="roundRect">
          <a:avLst>
            <a:gd name="adj" fmla="val 16670"/>
          </a:avLst>
        </a:prstGeom>
        <a:blipFill rotWithShape="0">
          <a:blip xmlns:r="http://schemas.openxmlformats.org/officeDocument/2006/relationships" r:embed="rId1">
            <a:duotone>
              <a:schemeClr val="accent1">
                <a:hueOff val="0"/>
                <a:satOff val="0"/>
                <a:lumOff val="0"/>
                <a:alphaOff val="0"/>
                <a:shade val="88000"/>
                <a:lumMod val="88000"/>
              </a:schemeClr>
              <a:schemeClr val="accent1">
                <a:hueOff val="0"/>
                <a:satOff val="0"/>
                <a:lumOff val="0"/>
                <a:alphaOff val="0"/>
              </a:schemeClr>
            </a:duotone>
          </a:blip>
          <a:tile tx="0" ty="0" sx="100000" sy="100000" flip="none" algn="tl"/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/>
            <a:t>…must be comply with the traditional values in SEA countries </a:t>
          </a:r>
          <a:endParaRPr lang="en-US" sz="3200" kern="1200"/>
        </a:p>
      </dsp:txBody>
      <dsp:txXfrm>
        <a:off x="1806700" y="4015451"/>
        <a:ext cx="8558551" cy="1044043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23709C-46FE-4F81-8241-F6C46F5121DB}">
      <dsp:nvSpPr>
        <dsp:cNvPr id="0" name=""/>
        <dsp:cNvSpPr/>
      </dsp:nvSpPr>
      <dsp:spPr>
        <a:xfrm>
          <a:off x="2079650" y="1212"/>
          <a:ext cx="10784997" cy="923373"/>
        </a:xfrm>
        <a:prstGeom prst="roundRect">
          <a:avLst>
            <a:gd name="adj" fmla="val 10000"/>
          </a:avLst>
        </a:prstGeom>
        <a:solidFill>
          <a:srgbClr val="00206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83820" rIns="125730" bIns="83820" numCol="1" spcCol="1270" anchor="ctr" anchorCtr="0">
          <a:noAutofit/>
        </a:bodyPr>
        <a:lstStyle/>
        <a:p>
          <a:pPr lvl="0" algn="ctr" defTabSz="2933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6600" kern="1200" smtClean="0"/>
            <a:t>Content &amp; Format</a:t>
          </a:r>
          <a:endParaRPr lang="en-US" sz="6600" kern="1200"/>
        </a:p>
      </dsp:txBody>
      <dsp:txXfrm>
        <a:off x="2106695" y="28257"/>
        <a:ext cx="10730907" cy="869283"/>
      </dsp:txXfrm>
    </dsp:sp>
    <dsp:sp modelId="{CD6A43A5-A37B-41F3-AFB6-212F8E0E3F3A}">
      <dsp:nvSpPr>
        <dsp:cNvPr id="0" name=""/>
        <dsp:cNvSpPr/>
      </dsp:nvSpPr>
      <dsp:spPr>
        <a:xfrm>
          <a:off x="2079650" y="1090792"/>
          <a:ext cx="923373" cy="92337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3000" r="-43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65BA5E1-896C-43A9-9866-07CD6D55B025}">
      <dsp:nvSpPr>
        <dsp:cNvPr id="0" name=""/>
        <dsp:cNvSpPr/>
      </dsp:nvSpPr>
      <dsp:spPr>
        <a:xfrm>
          <a:off x="3058426" y="1090792"/>
          <a:ext cx="9806221" cy="923373"/>
        </a:xfrm>
        <a:prstGeom prst="roundRect">
          <a:avLst>
            <a:gd name="adj" fmla="val 16670"/>
          </a:avLst>
        </a:prstGeom>
        <a:solidFill>
          <a:srgbClr val="00206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200" kern="1200" smtClean="0"/>
            <a:t>…don’t have to be very particular</a:t>
          </a:r>
          <a:endParaRPr lang="en-US" sz="3200" kern="1200"/>
        </a:p>
      </dsp:txBody>
      <dsp:txXfrm>
        <a:off x="3103509" y="1135875"/>
        <a:ext cx="9716055" cy="833207"/>
      </dsp:txXfrm>
    </dsp:sp>
    <dsp:sp modelId="{95D37067-992A-443F-8C30-278D5A866752}">
      <dsp:nvSpPr>
        <dsp:cNvPr id="0" name=""/>
        <dsp:cNvSpPr/>
      </dsp:nvSpPr>
      <dsp:spPr>
        <a:xfrm>
          <a:off x="2079650" y="2124970"/>
          <a:ext cx="923373" cy="92337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000" r="-37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6B813DD-8083-478B-8EE8-186E2E352BDB}">
      <dsp:nvSpPr>
        <dsp:cNvPr id="0" name=""/>
        <dsp:cNvSpPr/>
      </dsp:nvSpPr>
      <dsp:spPr>
        <a:xfrm>
          <a:off x="3058426" y="2124970"/>
          <a:ext cx="9806221" cy="923373"/>
        </a:xfrm>
        <a:prstGeom prst="roundRect">
          <a:avLst>
            <a:gd name="adj" fmla="val 16670"/>
          </a:avLst>
        </a:prstGeom>
        <a:solidFill>
          <a:srgbClr val="00206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smtClean="0"/>
            <a:t>… but should states the Content Standards and Learning Standards for every levels of schooling, in every learning areas</a:t>
          </a:r>
          <a:endParaRPr lang="en-US" sz="2800" kern="1200"/>
        </a:p>
      </dsp:txBody>
      <dsp:txXfrm>
        <a:off x="3103509" y="2170053"/>
        <a:ext cx="9716055" cy="833207"/>
      </dsp:txXfrm>
    </dsp:sp>
    <dsp:sp modelId="{7DA859A8-F93D-415C-A809-6FF61F649C0B}">
      <dsp:nvSpPr>
        <dsp:cNvPr id="0" name=""/>
        <dsp:cNvSpPr/>
      </dsp:nvSpPr>
      <dsp:spPr>
        <a:xfrm>
          <a:off x="2079650" y="3159148"/>
          <a:ext cx="923373" cy="92337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6000" r="-16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D4F8FD4-577B-4C29-BD61-6AC965365999}">
      <dsp:nvSpPr>
        <dsp:cNvPr id="0" name=""/>
        <dsp:cNvSpPr/>
      </dsp:nvSpPr>
      <dsp:spPr>
        <a:xfrm>
          <a:off x="3058426" y="3159148"/>
          <a:ext cx="9806221" cy="923373"/>
        </a:xfrm>
        <a:prstGeom prst="roundRect">
          <a:avLst>
            <a:gd name="adj" fmla="val 16670"/>
          </a:avLst>
        </a:prstGeom>
        <a:solidFill>
          <a:srgbClr val="00206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200" kern="1200" smtClean="0"/>
            <a:t>…</a:t>
          </a:r>
          <a:r>
            <a:rPr lang="en-US" sz="3200" kern="1200" smtClean="0"/>
            <a:t>for the curriculum developers or the policy makers</a:t>
          </a:r>
          <a:endParaRPr lang="en-US" sz="3200" kern="1200"/>
        </a:p>
      </dsp:txBody>
      <dsp:txXfrm>
        <a:off x="3103509" y="3204231"/>
        <a:ext cx="9716055" cy="833207"/>
      </dsp:txXfrm>
    </dsp:sp>
    <dsp:sp modelId="{211AB7E9-D557-4FA9-9BFC-DA47B6F40F30}">
      <dsp:nvSpPr>
        <dsp:cNvPr id="0" name=""/>
        <dsp:cNvSpPr/>
      </dsp:nvSpPr>
      <dsp:spPr>
        <a:xfrm>
          <a:off x="2079650" y="4193325"/>
          <a:ext cx="923373" cy="923373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A0D0E2D5-09F3-4584-9D28-6B7190CFF288}">
      <dsp:nvSpPr>
        <dsp:cNvPr id="0" name=""/>
        <dsp:cNvSpPr/>
      </dsp:nvSpPr>
      <dsp:spPr>
        <a:xfrm>
          <a:off x="3058426" y="4193325"/>
          <a:ext cx="9806221" cy="923373"/>
        </a:xfrm>
        <a:prstGeom prst="roundRect">
          <a:avLst>
            <a:gd name="adj" fmla="val 16670"/>
          </a:avLst>
        </a:prstGeom>
        <a:solidFill>
          <a:srgbClr val="00206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200" kern="1200" smtClean="0"/>
            <a:t>…can use NCTM or CCSS (US) as models</a:t>
          </a:r>
          <a:endParaRPr lang="en-US" sz="3200" kern="1200"/>
        </a:p>
      </dsp:txBody>
      <dsp:txXfrm>
        <a:off x="3103509" y="4238408"/>
        <a:ext cx="9716055" cy="833207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23709C-46FE-4F81-8241-F6C46F5121DB}">
      <dsp:nvSpPr>
        <dsp:cNvPr id="0" name=""/>
        <dsp:cNvSpPr/>
      </dsp:nvSpPr>
      <dsp:spPr>
        <a:xfrm>
          <a:off x="548626" y="1941"/>
          <a:ext cx="10367917" cy="1167660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83820" rIns="125730" bIns="83820" numCol="1" spcCol="1270" anchor="ctr" anchorCtr="0">
          <a:noAutofit/>
        </a:bodyPr>
        <a:lstStyle/>
        <a:p>
          <a:pPr lvl="0" algn="ctr" defTabSz="2933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6600" kern="1200" smtClean="0"/>
            <a:t>Processes &amp; Activities</a:t>
          </a:r>
          <a:endParaRPr lang="en-US" sz="6600" kern="1200"/>
        </a:p>
      </dsp:txBody>
      <dsp:txXfrm>
        <a:off x="582826" y="36141"/>
        <a:ext cx="10299517" cy="1099260"/>
      </dsp:txXfrm>
    </dsp:sp>
    <dsp:sp modelId="{6B814B83-B966-4990-89A9-9A0AD2696E77}">
      <dsp:nvSpPr>
        <dsp:cNvPr id="0" name=""/>
        <dsp:cNvSpPr/>
      </dsp:nvSpPr>
      <dsp:spPr>
        <a:xfrm>
          <a:off x="548626" y="1379781"/>
          <a:ext cx="1167660" cy="1167660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4000" r="-14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B00024-B01B-4B7E-90E1-DB45E756493C}">
      <dsp:nvSpPr>
        <dsp:cNvPr id="0" name=""/>
        <dsp:cNvSpPr/>
      </dsp:nvSpPr>
      <dsp:spPr>
        <a:xfrm>
          <a:off x="1786346" y="1379781"/>
          <a:ext cx="9130197" cy="1167660"/>
        </a:xfrm>
        <a:prstGeom prst="roundRect">
          <a:avLst>
            <a:gd name="adj" fmla="val 16670"/>
          </a:avLst>
        </a:prstGeom>
        <a:solidFill>
          <a:srgbClr val="7030A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smtClean="0"/>
            <a:t>…can be more productive if certain processes and activities are put and stated explicitly in the standard learning</a:t>
          </a:r>
          <a:endParaRPr lang="en-US" sz="2800" kern="1200"/>
        </a:p>
      </dsp:txBody>
      <dsp:txXfrm>
        <a:off x="1843357" y="1436792"/>
        <a:ext cx="9016175" cy="1053638"/>
      </dsp:txXfrm>
    </dsp:sp>
    <dsp:sp modelId="{B9CA22CA-78E2-4DE3-AC27-73E8F3C69146}">
      <dsp:nvSpPr>
        <dsp:cNvPr id="0" name=""/>
        <dsp:cNvSpPr/>
      </dsp:nvSpPr>
      <dsp:spPr>
        <a:xfrm>
          <a:off x="548626" y="2687561"/>
          <a:ext cx="1167660" cy="1167660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3000" r="-23000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E9804A8-A289-4A2F-9420-919CE80813D3}">
      <dsp:nvSpPr>
        <dsp:cNvPr id="0" name=""/>
        <dsp:cNvSpPr/>
      </dsp:nvSpPr>
      <dsp:spPr>
        <a:xfrm>
          <a:off x="1786346" y="2687561"/>
          <a:ext cx="9130197" cy="1167660"/>
        </a:xfrm>
        <a:prstGeom prst="roundRect">
          <a:avLst>
            <a:gd name="adj" fmla="val 16670"/>
          </a:avLst>
        </a:prstGeom>
        <a:solidFill>
          <a:srgbClr val="7030A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800" kern="1200" smtClean="0"/>
            <a:t>…</a:t>
          </a:r>
          <a:r>
            <a:rPr lang="en-US" sz="2800" kern="1200" smtClean="0"/>
            <a:t>in some conceptual understanding, students need to go certain activities and processes</a:t>
          </a:r>
          <a:endParaRPr lang="en-US" sz="2800" kern="1200"/>
        </a:p>
      </dsp:txBody>
      <dsp:txXfrm>
        <a:off x="1843357" y="2744572"/>
        <a:ext cx="9016175" cy="1053638"/>
      </dsp:txXfrm>
    </dsp:sp>
    <dsp:sp modelId="{1B256CAA-7762-4DA4-9C71-7C7A6B94041C}">
      <dsp:nvSpPr>
        <dsp:cNvPr id="0" name=""/>
        <dsp:cNvSpPr/>
      </dsp:nvSpPr>
      <dsp:spPr>
        <a:xfrm>
          <a:off x="548626" y="3995341"/>
          <a:ext cx="1167660" cy="1167660"/>
        </a:xfrm>
        <a:prstGeom prst="roundRect">
          <a:avLst>
            <a:gd name="adj" fmla="val 1667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30012F8-1E1D-4CE3-8512-92D95534FA5A}">
      <dsp:nvSpPr>
        <dsp:cNvPr id="0" name=""/>
        <dsp:cNvSpPr/>
      </dsp:nvSpPr>
      <dsp:spPr>
        <a:xfrm>
          <a:off x="1786346" y="3995341"/>
          <a:ext cx="9130197" cy="1167660"/>
        </a:xfrm>
        <a:prstGeom prst="roundRect">
          <a:avLst>
            <a:gd name="adj" fmla="val 16670"/>
          </a:avLst>
        </a:prstGeom>
        <a:solidFill>
          <a:srgbClr val="7030A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99136" rIns="199136" bIns="199136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800" kern="1200" smtClean="0"/>
            <a:t>…</a:t>
          </a:r>
          <a:r>
            <a:rPr lang="en-US" sz="2800" kern="1200" smtClean="0"/>
            <a:t>Teachers can add their creativity in implementing suitable pedagogical approach</a:t>
          </a:r>
          <a:endParaRPr lang="en-US" sz="2800" kern="1200"/>
        </a:p>
      </dsp:txBody>
      <dsp:txXfrm>
        <a:off x="1843357" y="4052352"/>
        <a:ext cx="9016175" cy="1053638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4F01D9-7E17-47C9-9FCD-DC7ADD6FDD25}">
      <dsp:nvSpPr>
        <dsp:cNvPr id="0" name=""/>
        <dsp:cNvSpPr/>
      </dsp:nvSpPr>
      <dsp:spPr>
        <a:xfrm>
          <a:off x="1410409" y="0"/>
          <a:ext cx="8823256" cy="5514535"/>
        </a:xfrm>
        <a:prstGeom prst="swooshArrow">
          <a:avLst>
            <a:gd name="adj1" fmla="val 25000"/>
            <a:gd name="adj2" fmla="val 2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6CBB663-5617-4209-83A8-AAEE98CF32D7}">
      <dsp:nvSpPr>
        <dsp:cNvPr id="0" name=""/>
        <dsp:cNvSpPr/>
      </dsp:nvSpPr>
      <dsp:spPr>
        <a:xfrm>
          <a:off x="3461816" y="3005421"/>
          <a:ext cx="308813" cy="30881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208844-2756-4206-8F72-ACDE2BC0C56D}">
      <dsp:nvSpPr>
        <dsp:cNvPr id="0" name=""/>
        <dsp:cNvSpPr/>
      </dsp:nvSpPr>
      <dsp:spPr>
        <a:xfrm>
          <a:off x="3643393" y="3117208"/>
          <a:ext cx="5404859" cy="23547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634" tIns="0" rIns="0" bIns="0" numCol="1" spcCol="1270" anchor="t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800" kern="1200" smtClean="0"/>
            <a:t>…</a:t>
          </a:r>
          <a:r>
            <a:rPr lang="en-US" sz="2800" kern="1200" smtClean="0"/>
            <a:t>should be written to inspire or encourage the curriculum developer or  policy makers in these countries to adopt and adapt </a:t>
          </a:r>
          <a:endParaRPr lang="en-US" sz="1600" kern="1200"/>
        </a:p>
      </dsp:txBody>
      <dsp:txXfrm>
        <a:off x="3643393" y="3117208"/>
        <a:ext cx="5404859" cy="2354706"/>
      </dsp:txXfrm>
    </dsp:sp>
    <dsp:sp modelId="{23984C8F-0D40-4F53-9467-5C79D7822F64}">
      <dsp:nvSpPr>
        <dsp:cNvPr id="0" name=""/>
        <dsp:cNvSpPr/>
      </dsp:nvSpPr>
      <dsp:spPr>
        <a:xfrm>
          <a:off x="6307316" y="1599215"/>
          <a:ext cx="529395" cy="52939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0EE460-A5C6-4090-9C9A-831B87215151}">
      <dsp:nvSpPr>
        <dsp:cNvPr id="0" name=""/>
        <dsp:cNvSpPr/>
      </dsp:nvSpPr>
      <dsp:spPr>
        <a:xfrm>
          <a:off x="6767366" y="1338935"/>
          <a:ext cx="4829455" cy="35148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0516" tIns="0" rIns="0" bIns="0" numCol="1" spcCol="1270" anchor="t" anchorCtr="0">
          <a:noAutofit/>
        </a:bodyPr>
        <a:lstStyle/>
        <a:p>
          <a:pPr lvl="0" algn="l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smtClean="0"/>
            <a:t>…should appear as Key-Stage-based standards, instead of grade-based standards.</a:t>
          </a:r>
          <a:endParaRPr lang="en-US" sz="2800" kern="1200"/>
        </a:p>
      </dsp:txBody>
      <dsp:txXfrm>
        <a:off x="6767366" y="1338935"/>
        <a:ext cx="4829455" cy="3514855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FDB530-15E8-4367-9577-7B3DC01C900C}">
      <dsp:nvSpPr>
        <dsp:cNvPr id="0" name=""/>
        <dsp:cNvSpPr/>
      </dsp:nvSpPr>
      <dsp:spPr>
        <a:xfrm>
          <a:off x="-2932239" y="-451725"/>
          <a:ext cx="3498365" cy="3498365"/>
        </a:xfrm>
        <a:prstGeom prst="blockArc">
          <a:avLst>
            <a:gd name="adj1" fmla="val 18900000"/>
            <a:gd name="adj2" fmla="val 2700000"/>
            <a:gd name="adj3" fmla="val 617"/>
          </a:avLst>
        </a:prstGeom>
        <a:noFill/>
        <a:ln w="19050" cap="flat" cmpd="sng" algn="ctr">
          <a:solidFill>
            <a:schemeClr val="dk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9FB4E4-667E-4191-929A-EF0956343677}">
      <dsp:nvSpPr>
        <dsp:cNvPr id="0" name=""/>
        <dsp:cNvSpPr/>
      </dsp:nvSpPr>
      <dsp:spPr>
        <a:xfrm>
          <a:off x="297051" y="199497"/>
          <a:ext cx="3814159" cy="39920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6866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000" kern="1200" smtClean="0"/>
            <a:t>21</a:t>
          </a:r>
          <a:r>
            <a:rPr lang="en-MY" sz="2000" kern="1200" baseline="30000" smtClean="0"/>
            <a:t>st</a:t>
          </a:r>
          <a:r>
            <a:rPr lang="en-MY" sz="2000" kern="1200" smtClean="0"/>
            <a:t> century skills - knowhow</a:t>
          </a:r>
          <a:endParaRPr lang="en-US" sz="2000" kern="1200"/>
        </a:p>
      </dsp:txBody>
      <dsp:txXfrm>
        <a:off x="297051" y="199497"/>
        <a:ext cx="3814159" cy="399201"/>
      </dsp:txXfrm>
    </dsp:sp>
    <dsp:sp modelId="{B92859F4-64BC-4F41-8B08-4E9AE21CBD90}">
      <dsp:nvSpPr>
        <dsp:cNvPr id="0" name=""/>
        <dsp:cNvSpPr/>
      </dsp:nvSpPr>
      <dsp:spPr>
        <a:xfrm>
          <a:off x="47550" y="149596"/>
          <a:ext cx="499002" cy="499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2F1028-D24D-4A68-823A-70B49E06D1B0}">
      <dsp:nvSpPr>
        <dsp:cNvPr id="0" name=""/>
        <dsp:cNvSpPr/>
      </dsp:nvSpPr>
      <dsp:spPr>
        <a:xfrm>
          <a:off x="525922" y="798403"/>
          <a:ext cx="3585288" cy="39920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6866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000" kern="1200" smtClean="0"/>
            <a:t>Regional values</a:t>
          </a:r>
          <a:endParaRPr lang="en-US" sz="2000" kern="1200"/>
        </a:p>
      </dsp:txBody>
      <dsp:txXfrm>
        <a:off x="525922" y="798403"/>
        <a:ext cx="3585288" cy="399201"/>
      </dsp:txXfrm>
    </dsp:sp>
    <dsp:sp modelId="{2DE5C068-F4AC-4FDE-94B6-B92380384169}">
      <dsp:nvSpPr>
        <dsp:cNvPr id="0" name=""/>
        <dsp:cNvSpPr/>
      </dsp:nvSpPr>
      <dsp:spPr>
        <a:xfrm>
          <a:off x="276421" y="748503"/>
          <a:ext cx="499002" cy="499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B0C46DF-8D9D-45B0-814F-1D3728A4DC5F}">
      <dsp:nvSpPr>
        <dsp:cNvPr id="0" name=""/>
        <dsp:cNvSpPr/>
      </dsp:nvSpPr>
      <dsp:spPr>
        <a:xfrm>
          <a:off x="525922" y="1397309"/>
          <a:ext cx="3585288" cy="39920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6866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000" kern="1200" smtClean="0"/>
            <a:t>Global competencies</a:t>
          </a:r>
          <a:endParaRPr lang="en-US" sz="2000" kern="1200"/>
        </a:p>
      </dsp:txBody>
      <dsp:txXfrm>
        <a:off x="525922" y="1397309"/>
        <a:ext cx="3585288" cy="399201"/>
      </dsp:txXfrm>
    </dsp:sp>
    <dsp:sp modelId="{7B141CBD-5375-4A30-8DD3-3CF923D773D0}">
      <dsp:nvSpPr>
        <dsp:cNvPr id="0" name=""/>
        <dsp:cNvSpPr/>
      </dsp:nvSpPr>
      <dsp:spPr>
        <a:xfrm>
          <a:off x="276421" y="1347409"/>
          <a:ext cx="499002" cy="499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548135-4F85-43A6-ACE0-16BD0EAECD64}">
      <dsp:nvSpPr>
        <dsp:cNvPr id="0" name=""/>
        <dsp:cNvSpPr/>
      </dsp:nvSpPr>
      <dsp:spPr>
        <a:xfrm>
          <a:off x="297051" y="1996216"/>
          <a:ext cx="3814159" cy="39920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16866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000" kern="1200" smtClean="0"/>
            <a:t>TIMSS and PISA</a:t>
          </a:r>
          <a:endParaRPr lang="en-US" sz="2000" kern="1200"/>
        </a:p>
      </dsp:txBody>
      <dsp:txXfrm>
        <a:off x="297051" y="1996216"/>
        <a:ext cx="3814159" cy="399201"/>
      </dsp:txXfrm>
    </dsp:sp>
    <dsp:sp modelId="{50778B39-0935-4C1B-8C5A-C7390FA11DE6}">
      <dsp:nvSpPr>
        <dsp:cNvPr id="0" name=""/>
        <dsp:cNvSpPr/>
      </dsp:nvSpPr>
      <dsp:spPr>
        <a:xfrm>
          <a:off x="47550" y="1946315"/>
          <a:ext cx="499002" cy="499002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C49BCB-1DC2-4F44-A730-5DA236B8B30C}">
      <dsp:nvSpPr>
        <dsp:cNvPr id="0" name=""/>
        <dsp:cNvSpPr/>
      </dsp:nvSpPr>
      <dsp:spPr>
        <a:xfrm>
          <a:off x="1043539" y="0"/>
          <a:ext cx="7564878" cy="3390900"/>
        </a:xfrm>
        <a:prstGeom prst="rightArrow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3A59C6-0DF0-4C77-BFF7-58BE4EC6A43D}">
      <dsp:nvSpPr>
        <dsp:cNvPr id="0" name=""/>
        <dsp:cNvSpPr/>
      </dsp:nvSpPr>
      <dsp:spPr>
        <a:xfrm>
          <a:off x="113964" y="1017269"/>
          <a:ext cx="4227432" cy="1356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000" kern="1200" smtClean="0"/>
            <a:t>Integrated Curriculum for Primay School (KBSR)</a:t>
          </a:r>
          <a:endParaRPr lang="en-US" sz="3000" kern="1200"/>
        </a:p>
      </dsp:txBody>
      <dsp:txXfrm>
        <a:off x="180176" y="1083481"/>
        <a:ext cx="4095008" cy="1223936"/>
      </dsp:txXfrm>
    </dsp:sp>
    <dsp:sp modelId="{B0EAE1C4-5D96-41AF-B9D9-746FE6CE9172}">
      <dsp:nvSpPr>
        <dsp:cNvPr id="0" name=""/>
        <dsp:cNvSpPr/>
      </dsp:nvSpPr>
      <dsp:spPr>
        <a:xfrm>
          <a:off x="4558460" y="1017269"/>
          <a:ext cx="4227432" cy="13563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0" tIns="114300" rIns="114300" bIns="114300" numCol="1" spcCol="1270" anchor="ctr" anchorCtr="0">
          <a:noAutofit/>
        </a:bodyPr>
        <a:lstStyle/>
        <a:p>
          <a:pPr lvl="0" algn="ctr" defTabSz="1333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000" kern="1200" smtClean="0"/>
            <a:t>Standard Curriculum for Primary School (KSSR)</a:t>
          </a:r>
          <a:endParaRPr lang="en-US" sz="3000" kern="1200"/>
        </a:p>
      </dsp:txBody>
      <dsp:txXfrm>
        <a:off x="4624672" y="1083481"/>
        <a:ext cx="4095008" cy="122393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7D1FBD-63C8-4813-B22C-5FF98F0CAAEF}">
      <dsp:nvSpPr>
        <dsp:cNvPr id="0" name=""/>
        <dsp:cNvSpPr/>
      </dsp:nvSpPr>
      <dsp:spPr>
        <a:xfrm>
          <a:off x="3207687" y="2335030"/>
          <a:ext cx="2059884" cy="203098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000" kern="1200" smtClean="0"/>
            <a:t>Standards </a:t>
          </a:r>
          <a:r>
            <a:rPr lang="en-MY" sz="2000" kern="1200" smtClean="0"/>
            <a:t>Document</a:t>
          </a:r>
          <a:endParaRPr lang="en-US" sz="2000" kern="1200"/>
        </a:p>
      </dsp:txBody>
      <dsp:txXfrm>
        <a:off x="3509350" y="2632461"/>
        <a:ext cx="1456558" cy="1436127"/>
      </dsp:txXfrm>
    </dsp:sp>
    <dsp:sp modelId="{683A2662-D491-4025-8979-D44C1FD87E31}">
      <dsp:nvSpPr>
        <dsp:cNvPr id="0" name=""/>
        <dsp:cNvSpPr/>
      </dsp:nvSpPr>
      <dsp:spPr>
        <a:xfrm rot="16200000">
          <a:off x="4122186" y="1824051"/>
          <a:ext cx="230886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4156819" y="1978562"/>
        <a:ext cx="161620" cy="359636"/>
      </dsp:txXfrm>
    </dsp:sp>
    <dsp:sp modelId="{85B93CEB-7A74-41B4-A383-D76752F216F3}">
      <dsp:nvSpPr>
        <dsp:cNvPr id="0" name=""/>
        <dsp:cNvSpPr/>
      </dsp:nvSpPr>
      <dsp:spPr>
        <a:xfrm>
          <a:off x="3207687" y="-131593"/>
          <a:ext cx="2059884" cy="2030989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Text book</a:t>
          </a:r>
          <a:endParaRPr lang="en-US" sz="1800" kern="1200">
            <a:solidFill>
              <a:schemeClr val="tx1"/>
            </a:solidFill>
          </a:endParaRPr>
        </a:p>
      </dsp:txBody>
      <dsp:txXfrm>
        <a:off x="3509350" y="165838"/>
        <a:ext cx="1456558" cy="1436127"/>
      </dsp:txXfrm>
    </dsp:sp>
    <dsp:sp modelId="{13368A16-3781-4402-9ED3-A6D35733C4D7}">
      <dsp:nvSpPr>
        <dsp:cNvPr id="0" name=""/>
        <dsp:cNvSpPr/>
      </dsp:nvSpPr>
      <dsp:spPr>
        <a:xfrm rot="19800000">
          <a:off x="5190599" y="2437278"/>
          <a:ext cx="219461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5195009" y="2573616"/>
        <a:ext cx="153623" cy="359636"/>
      </dsp:txXfrm>
    </dsp:sp>
    <dsp:sp modelId="{CD557C78-B273-4119-A20B-F7D8EFE1438C}">
      <dsp:nvSpPr>
        <dsp:cNvPr id="0" name=""/>
        <dsp:cNvSpPr/>
      </dsp:nvSpPr>
      <dsp:spPr>
        <a:xfrm>
          <a:off x="5343846" y="1101718"/>
          <a:ext cx="2059884" cy="2030989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Assessment</a:t>
          </a:r>
          <a:endParaRPr lang="en-US" sz="1800" kern="1200">
            <a:solidFill>
              <a:schemeClr val="tx1"/>
            </a:solidFill>
          </a:endParaRPr>
        </a:p>
      </dsp:txBody>
      <dsp:txXfrm>
        <a:off x="5645509" y="1399149"/>
        <a:ext cx="1456558" cy="1436127"/>
      </dsp:txXfrm>
    </dsp:sp>
    <dsp:sp modelId="{2F8022EB-3AB3-49D1-9DF9-7C36E0A70047}">
      <dsp:nvSpPr>
        <dsp:cNvPr id="0" name=""/>
        <dsp:cNvSpPr/>
      </dsp:nvSpPr>
      <dsp:spPr>
        <a:xfrm rot="1800000">
          <a:off x="5190599" y="3664379"/>
          <a:ext cx="219461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5195009" y="3767798"/>
        <a:ext cx="153623" cy="359636"/>
      </dsp:txXfrm>
    </dsp:sp>
    <dsp:sp modelId="{D02DA4DF-2592-4DC7-B13A-058CA9FAD952}">
      <dsp:nvSpPr>
        <dsp:cNvPr id="0" name=""/>
        <dsp:cNvSpPr/>
      </dsp:nvSpPr>
      <dsp:spPr>
        <a:xfrm>
          <a:off x="5343846" y="3568342"/>
          <a:ext cx="2059884" cy="2030989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Learning Modules</a:t>
          </a:r>
          <a:endParaRPr lang="en-US" sz="1800" kern="1200">
            <a:solidFill>
              <a:schemeClr val="tx1"/>
            </a:solidFill>
          </a:endParaRPr>
        </a:p>
      </dsp:txBody>
      <dsp:txXfrm>
        <a:off x="5645509" y="3865773"/>
        <a:ext cx="1456558" cy="1436127"/>
      </dsp:txXfrm>
    </dsp:sp>
    <dsp:sp modelId="{233BE370-9A8E-4550-A4FD-6D94CD751AE1}">
      <dsp:nvSpPr>
        <dsp:cNvPr id="0" name=""/>
        <dsp:cNvSpPr/>
      </dsp:nvSpPr>
      <dsp:spPr>
        <a:xfrm rot="5400000">
          <a:off x="4122186" y="4277606"/>
          <a:ext cx="230886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>
        <a:off x="4156819" y="4362851"/>
        <a:ext cx="161620" cy="359636"/>
      </dsp:txXfrm>
    </dsp:sp>
    <dsp:sp modelId="{53D03370-9B76-457F-BDAE-E7DA0FE2A33F}">
      <dsp:nvSpPr>
        <dsp:cNvPr id="0" name=""/>
        <dsp:cNvSpPr/>
      </dsp:nvSpPr>
      <dsp:spPr>
        <a:xfrm>
          <a:off x="3207687" y="4801654"/>
          <a:ext cx="2059884" cy="2030989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Teacher Training</a:t>
          </a:r>
          <a:endParaRPr lang="en-US" sz="1800" kern="1200">
            <a:solidFill>
              <a:schemeClr val="tx1"/>
            </a:solidFill>
          </a:endParaRPr>
        </a:p>
      </dsp:txBody>
      <dsp:txXfrm>
        <a:off x="3509350" y="5099085"/>
        <a:ext cx="1456558" cy="1436127"/>
      </dsp:txXfrm>
    </dsp:sp>
    <dsp:sp modelId="{5F3D6479-EB01-4CCE-96CD-A236648C463A}">
      <dsp:nvSpPr>
        <dsp:cNvPr id="0" name=""/>
        <dsp:cNvSpPr/>
      </dsp:nvSpPr>
      <dsp:spPr>
        <a:xfrm rot="9000000">
          <a:off x="3065198" y="3664379"/>
          <a:ext cx="219461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 rot="10800000">
        <a:off x="3126626" y="3767798"/>
        <a:ext cx="153623" cy="359636"/>
      </dsp:txXfrm>
    </dsp:sp>
    <dsp:sp modelId="{5AB6DE28-ABB2-4E46-9116-05F8518E4BB2}">
      <dsp:nvSpPr>
        <dsp:cNvPr id="0" name=""/>
        <dsp:cNvSpPr/>
      </dsp:nvSpPr>
      <dsp:spPr>
        <a:xfrm>
          <a:off x="1071528" y="3568342"/>
          <a:ext cx="2059884" cy="2030989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Referrence books</a:t>
          </a:r>
          <a:endParaRPr lang="en-US" sz="1800" kern="1200">
            <a:solidFill>
              <a:schemeClr val="tx1"/>
            </a:solidFill>
          </a:endParaRPr>
        </a:p>
      </dsp:txBody>
      <dsp:txXfrm>
        <a:off x="1373191" y="3865773"/>
        <a:ext cx="1456558" cy="1436127"/>
      </dsp:txXfrm>
    </dsp:sp>
    <dsp:sp modelId="{2DA38714-88A7-4503-8371-6A9416555008}">
      <dsp:nvSpPr>
        <dsp:cNvPr id="0" name=""/>
        <dsp:cNvSpPr/>
      </dsp:nvSpPr>
      <dsp:spPr>
        <a:xfrm rot="12600000">
          <a:off x="2965998" y="2402161"/>
          <a:ext cx="296212" cy="59939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z="-52400" extrusionH="1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500" kern="1200"/>
        </a:p>
      </dsp:txBody>
      <dsp:txXfrm rot="10800000">
        <a:off x="3048909" y="2544255"/>
        <a:ext cx="207348" cy="359636"/>
      </dsp:txXfrm>
    </dsp:sp>
    <dsp:sp modelId="{AC9D104F-9D90-46A1-B589-88A9CAC1C78C}">
      <dsp:nvSpPr>
        <dsp:cNvPr id="0" name=""/>
        <dsp:cNvSpPr/>
      </dsp:nvSpPr>
      <dsp:spPr>
        <a:xfrm>
          <a:off x="1220010" y="1235753"/>
          <a:ext cx="1762920" cy="1762920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p3d extrusionH="381000" contourW="38100" prstMaterial="matte">
          <a:contourClr>
            <a:schemeClr val="lt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1800" kern="1200" smtClean="0">
              <a:solidFill>
                <a:schemeClr val="tx1"/>
              </a:solidFill>
            </a:rPr>
            <a:t>Classroom</a:t>
          </a:r>
          <a:endParaRPr lang="en-US" sz="1800" kern="1200">
            <a:solidFill>
              <a:schemeClr val="tx1"/>
            </a:solidFill>
          </a:endParaRPr>
        </a:p>
      </dsp:txBody>
      <dsp:txXfrm>
        <a:off x="1478184" y="1493927"/>
        <a:ext cx="1246572" cy="12465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607029-762F-44F6-BB55-A67E3890474A}">
      <dsp:nvSpPr>
        <dsp:cNvPr id="0" name=""/>
        <dsp:cNvSpPr/>
      </dsp:nvSpPr>
      <dsp:spPr>
        <a:xfrm>
          <a:off x="0" y="0"/>
          <a:ext cx="12192000" cy="2057400"/>
        </a:xfrm>
        <a:prstGeom prst="rect">
          <a:avLst/>
        </a:prstGeom>
        <a:solidFill>
          <a:schemeClr val="dk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6500" kern="1200" smtClean="0"/>
            <a:t>Standard </a:t>
          </a:r>
          <a:r>
            <a:rPr lang="en-MY" sz="6500" kern="1200" smtClean="0"/>
            <a:t>Document</a:t>
          </a:r>
          <a:endParaRPr lang="en-US" sz="6500" kern="1200"/>
        </a:p>
      </dsp:txBody>
      <dsp:txXfrm>
        <a:off x="0" y="0"/>
        <a:ext cx="12192000" cy="2057400"/>
      </dsp:txXfrm>
    </dsp:sp>
    <dsp:sp modelId="{DD2C9F94-7DAD-457B-822D-1B3FAB605FF8}">
      <dsp:nvSpPr>
        <dsp:cNvPr id="0" name=""/>
        <dsp:cNvSpPr/>
      </dsp:nvSpPr>
      <dsp:spPr>
        <a:xfrm>
          <a:off x="5953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300" kern="1200" smtClean="0"/>
            <a:t>Content Standards</a:t>
          </a:r>
          <a:endParaRPr lang="en-US" sz="5300" kern="1200"/>
        </a:p>
      </dsp:txBody>
      <dsp:txXfrm>
        <a:off x="5953" y="2057400"/>
        <a:ext cx="4060031" cy="4320540"/>
      </dsp:txXfrm>
    </dsp:sp>
    <dsp:sp modelId="{47989E0C-964E-407D-8293-120A0A91D7A0}">
      <dsp:nvSpPr>
        <dsp:cNvPr id="0" name=""/>
        <dsp:cNvSpPr/>
      </dsp:nvSpPr>
      <dsp:spPr>
        <a:xfrm>
          <a:off x="4065984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300" kern="1200" smtClean="0"/>
            <a:t>Learning Standards</a:t>
          </a:r>
          <a:endParaRPr lang="en-US" sz="5300" kern="1200"/>
        </a:p>
      </dsp:txBody>
      <dsp:txXfrm>
        <a:off x="4065984" y="2057400"/>
        <a:ext cx="4060031" cy="4320540"/>
      </dsp:txXfrm>
    </dsp:sp>
    <dsp:sp modelId="{20DE6F73-FDBF-49BA-B75D-C777DA1CF5DD}">
      <dsp:nvSpPr>
        <dsp:cNvPr id="0" name=""/>
        <dsp:cNvSpPr/>
      </dsp:nvSpPr>
      <dsp:spPr>
        <a:xfrm>
          <a:off x="8126015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1930" tIns="201930" rIns="201930" bIns="201930" numCol="1" spcCol="1270" anchor="ctr" anchorCtr="0">
          <a:noAutofit/>
        </a:bodyPr>
        <a:lstStyle/>
        <a:p>
          <a:pPr lvl="0" algn="ctr" defTabSz="2355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300" kern="1200" smtClean="0"/>
            <a:t>Performance Standards</a:t>
          </a:r>
          <a:endParaRPr lang="en-US" sz="5300" kern="1200"/>
        </a:p>
      </dsp:txBody>
      <dsp:txXfrm>
        <a:off x="8126015" y="2057400"/>
        <a:ext cx="4060031" cy="4320540"/>
      </dsp:txXfrm>
    </dsp:sp>
    <dsp:sp modelId="{720F8CAB-10E9-4862-B428-30928D1E8525}">
      <dsp:nvSpPr>
        <dsp:cNvPr id="0" name=""/>
        <dsp:cNvSpPr/>
      </dsp:nvSpPr>
      <dsp:spPr>
        <a:xfrm>
          <a:off x="0" y="6377940"/>
          <a:ext cx="12192000" cy="480060"/>
        </a:xfrm>
        <a:prstGeom prst="rect">
          <a:avLst/>
        </a:prstGeom>
        <a:solidFill>
          <a:schemeClr val="dk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607029-762F-44F6-BB55-A67E3890474A}">
      <dsp:nvSpPr>
        <dsp:cNvPr id="0" name=""/>
        <dsp:cNvSpPr/>
      </dsp:nvSpPr>
      <dsp:spPr>
        <a:xfrm>
          <a:off x="0" y="0"/>
          <a:ext cx="12192000" cy="2057400"/>
        </a:xfrm>
        <a:prstGeom prst="rect">
          <a:avLst/>
        </a:prstGeom>
        <a:solidFill>
          <a:schemeClr val="dk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247650" rIns="247650" bIns="2476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6500" kern="1200" smtClean="0"/>
            <a:t>Standard </a:t>
          </a:r>
          <a:r>
            <a:rPr lang="en-MY" sz="6500" kern="1200" smtClean="0"/>
            <a:t>Document</a:t>
          </a:r>
          <a:endParaRPr lang="en-US" sz="6500" kern="1200"/>
        </a:p>
      </dsp:txBody>
      <dsp:txXfrm>
        <a:off x="0" y="0"/>
        <a:ext cx="12192000" cy="2057400"/>
      </dsp:txXfrm>
    </dsp:sp>
    <dsp:sp modelId="{DD2C9F94-7DAD-457B-822D-1B3FAB605FF8}">
      <dsp:nvSpPr>
        <dsp:cNvPr id="0" name=""/>
        <dsp:cNvSpPr/>
      </dsp:nvSpPr>
      <dsp:spPr>
        <a:xfrm>
          <a:off x="5953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smtClean="0"/>
            <a:t>…general statement about cognitive and affective domain that can be achieved by the pupils.</a:t>
          </a:r>
          <a:endParaRPr lang="en-US" sz="3500" kern="1200"/>
        </a:p>
      </dsp:txBody>
      <dsp:txXfrm>
        <a:off x="5953" y="2057400"/>
        <a:ext cx="4060031" cy="4320540"/>
      </dsp:txXfrm>
    </dsp:sp>
    <dsp:sp modelId="{47989E0C-964E-407D-8293-120A0A91D7A0}">
      <dsp:nvSpPr>
        <dsp:cNvPr id="0" name=""/>
        <dsp:cNvSpPr/>
      </dsp:nvSpPr>
      <dsp:spPr>
        <a:xfrm>
          <a:off x="4065984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smtClean="0"/>
            <a:t>…specific statement of what pupils should know and able to do conceptually and practically.</a:t>
          </a:r>
          <a:endParaRPr lang="en-US" sz="3500" kern="1200"/>
        </a:p>
      </dsp:txBody>
      <dsp:txXfrm>
        <a:off x="4065984" y="2057400"/>
        <a:ext cx="4060031" cy="4320540"/>
      </dsp:txXfrm>
    </dsp:sp>
    <dsp:sp modelId="{20DE6F73-FDBF-49BA-B75D-C777DA1CF5DD}">
      <dsp:nvSpPr>
        <dsp:cNvPr id="0" name=""/>
        <dsp:cNvSpPr/>
      </dsp:nvSpPr>
      <dsp:spPr>
        <a:xfrm>
          <a:off x="8126015" y="2057400"/>
          <a:ext cx="4060031" cy="432054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lvl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500" kern="1200" smtClean="0"/>
            <a:t>…general criterion that illustrate the level of performance that the students need to demonstrate as indicator of success called Descriptor.</a:t>
          </a:r>
          <a:endParaRPr lang="en-US" sz="3500" kern="1200"/>
        </a:p>
      </dsp:txBody>
      <dsp:txXfrm>
        <a:off x="8126015" y="2057400"/>
        <a:ext cx="4060031" cy="4320540"/>
      </dsp:txXfrm>
    </dsp:sp>
    <dsp:sp modelId="{720F8CAB-10E9-4862-B428-30928D1E8525}">
      <dsp:nvSpPr>
        <dsp:cNvPr id="0" name=""/>
        <dsp:cNvSpPr/>
      </dsp:nvSpPr>
      <dsp:spPr>
        <a:xfrm>
          <a:off x="0" y="6377940"/>
          <a:ext cx="12192000" cy="480060"/>
        </a:xfrm>
        <a:prstGeom prst="rect">
          <a:avLst/>
        </a:prstGeom>
        <a:solidFill>
          <a:schemeClr val="dk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EB5CD2-C52F-4700-B250-D01157ABF28E}">
      <dsp:nvSpPr>
        <dsp:cNvPr id="0" name=""/>
        <dsp:cNvSpPr/>
      </dsp:nvSpPr>
      <dsp:spPr>
        <a:xfrm>
          <a:off x="816522" y="0"/>
          <a:ext cx="1941770" cy="1078761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4700" kern="1200" smtClean="0"/>
            <a:t>KBSR</a:t>
          </a:r>
          <a:endParaRPr lang="en-US" sz="4700" kern="1200"/>
        </a:p>
      </dsp:txBody>
      <dsp:txXfrm>
        <a:off x="848118" y="31596"/>
        <a:ext cx="1878578" cy="1015569"/>
      </dsp:txXfrm>
    </dsp:sp>
    <dsp:sp modelId="{829E2DE1-CE7E-4EF0-9DFF-365F8063D953}">
      <dsp:nvSpPr>
        <dsp:cNvPr id="0" name=""/>
        <dsp:cNvSpPr/>
      </dsp:nvSpPr>
      <dsp:spPr>
        <a:xfrm>
          <a:off x="3621301" y="0"/>
          <a:ext cx="1941770" cy="1078761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9070" tIns="179070" rIns="179070" bIns="179070" numCol="1" spcCol="1270" anchor="ctr" anchorCtr="0">
          <a:noAutofit/>
        </a:bodyPr>
        <a:lstStyle/>
        <a:p>
          <a:pPr lvl="0" algn="ctr" defTabSz="2089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4700" kern="1200" smtClean="0"/>
            <a:t>KSSR</a:t>
          </a:r>
          <a:endParaRPr lang="en-US" sz="4700" kern="1200"/>
        </a:p>
      </dsp:txBody>
      <dsp:txXfrm>
        <a:off x="3652897" y="31596"/>
        <a:ext cx="1878578" cy="1015569"/>
      </dsp:txXfrm>
    </dsp:sp>
    <dsp:sp modelId="{3EE1EA68-24C1-4103-8E91-F802B5E569E2}">
      <dsp:nvSpPr>
        <dsp:cNvPr id="0" name=""/>
        <dsp:cNvSpPr/>
      </dsp:nvSpPr>
      <dsp:spPr>
        <a:xfrm>
          <a:off x="2785261" y="4584735"/>
          <a:ext cx="809070" cy="809070"/>
        </a:xfrm>
        <a:prstGeom prst="triangle">
          <a:avLst/>
        </a:prstGeom>
        <a:solidFill>
          <a:srgbClr val="0070C0">
            <a:alpha val="90000"/>
          </a:srgb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A0D996-7AF3-4974-AF40-1F56F34A244C}">
      <dsp:nvSpPr>
        <dsp:cNvPr id="0" name=""/>
        <dsp:cNvSpPr/>
      </dsp:nvSpPr>
      <dsp:spPr>
        <a:xfrm rot="240000">
          <a:off x="761843" y="4238039"/>
          <a:ext cx="4855907" cy="339558"/>
        </a:xfrm>
        <a:prstGeom prst="rect">
          <a:avLst/>
        </a:prstGeom>
        <a:solidFill>
          <a:srgbClr val="0070C0">
            <a:alpha val="90000"/>
          </a:srgb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67A035-1547-4863-8EF3-AA19EF51D22A}">
      <dsp:nvSpPr>
        <dsp:cNvPr id="0" name=""/>
        <dsp:cNvSpPr/>
      </dsp:nvSpPr>
      <dsp:spPr>
        <a:xfrm rot="240000">
          <a:off x="3682618" y="3626312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Reading </a:t>
          </a:r>
          <a:endParaRPr lang="en-US" sz="2700" kern="1200"/>
        </a:p>
      </dsp:txBody>
      <dsp:txXfrm>
        <a:off x="3715104" y="3658798"/>
        <a:ext cx="1862039" cy="600510"/>
      </dsp:txXfrm>
    </dsp:sp>
    <dsp:sp modelId="{A00C8928-44FF-4DF3-81E7-EF69B0813DF5}">
      <dsp:nvSpPr>
        <dsp:cNvPr id="0" name=""/>
        <dsp:cNvSpPr/>
      </dsp:nvSpPr>
      <dsp:spPr>
        <a:xfrm rot="240000">
          <a:off x="3736556" y="2914329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Writing</a:t>
          </a:r>
          <a:endParaRPr lang="en-US" sz="2700" kern="1200"/>
        </a:p>
      </dsp:txBody>
      <dsp:txXfrm>
        <a:off x="3769042" y="2946815"/>
        <a:ext cx="1862039" cy="600510"/>
      </dsp:txXfrm>
    </dsp:sp>
    <dsp:sp modelId="{D430110A-5A8D-4E64-89B2-09A545D9BA2C}">
      <dsp:nvSpPr>
        <dsp:cNvPr id="0" name=""/>
        <dsp:cNvSpPr/>
      </dsp:nvSpPr>
      <dsp:spPr>
        <a:xfrm rot="240000">
          <a:off x="3790494" y="2202347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Arithmetics</a:t>
          </a:r>
          <a:endParaRPr lang="en-US" sz="2700" kern="1200"/>
        </a:p>
      </dsp:txBody>
      <dsp:txXfrm>
        <a:off x="3822980" y="2234833"/>
        <a:ext cx="1862039" cy="600510"/>
      </dsp:txXfrm>
    </dsp:sp>
    <dsp:sp modelId="{6F8AD650-60B4-4948-A1CA-5D4A181EFAC1}">
      <dsp:nvSpPr>
        <dsp:cNvPr id="0" name=""/>
        <dsp:cNvSpPr/>
      </dsp:nvSpPr>
      <dsp:spPr>
        <a:xfrm rot="240000">
          <a:off x="3844433" y="1490365"/>
          <a:ext cx="1927011" cy="665482"/>
        </a:xfrm>
        <a:prstGeom prst="roundRect">
          <a:avLst/>
        </a:prstGeom>
        <a:solidFill>
          <a:schemeClr val="tx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Reasoning</a:t>
          </a:r>
          <a:endParaRPr lang="en-US" sz="2700" kern="1200"/>
        </a:p>
      </dsp:txBody>
      <dsp:txXfrm>
        <a:off x="3876919" y="1522851"/>
        <a:ext cx="1862039" cy="600510"/>
      </dsp:txXfrm>
    </dsp:sp>
    <dsp:sp modelId="{02219519-8B37-47F3-9A6A-06FE019FB572}">
      <dsp:nvSpPr>
        <dsp:cNvPr id="0" name=""/>
        <dsp:cNvSpPr/>
      </dsp:nvSpPr>
      <dsp:spPr>
        <a:xfrm rot="240000">
          <a:off x="877839" y="3432135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Reading</a:t>
          </a:r>
          <a:endParaRPr lang="en-US" sz="2700" kern="1200"/>
        </a:p>
      </dsp:txBody>
      <dsp:txXfrm>
        <a:off x="910325" y="3464621"/>
        <a:ext cx="1862039" cy="600510"/>
      </dsp:txXfrm>
    </dsp:sp>
    <dsp:sp modelId="{C5838614-F7E9-4930-B0FA-91DE2B48F8CF}">
      <dsp:nvSpPr>
        <dsp:cNvPr id="0" name=""/>
        <dsp:cNvSpPr/>
      </dsp:nvSpPr>
      <dsp:spPr>
        <a:xfrm rot="240000">
          <a:off x="931777" y="2720152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Writing</a:t>
          </a:r>
          <a:endParaRPr lang="en-US" sz="2700" kern="1200"/>
        </a:p>
      </dsp:txBody>
      <dsp:txXfrm>
        <a:off x="964263" y="2752638"/>
        <a:ext cx="1862039" cy="600510"/>
      </dsp:txXfrm>
    </dsp:sp>
    <dsp:sp modelId="{45A6C45F-33B4-4B8B-A948-F1C1D02C9915}">
      <dsp:nvSpPr>
        <dsp:cNvPr id="0" name=""/>
        <dsp:cNvSpPr/>
      </dsp:nvSpPr>
      <dsp:spPr>
        <a:xfrm rot="240000">
          <a:off x="985715" y="2008170"/>
          <a:ext cx="1927011" cy="665482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2700" kern="1200" smtClean="0"/>
            <a:t>Arithmetics</a:t>
          </a:r>
          <a:endParaRPr lang="en-US" sz="2700" kern="1200"/>
        </a:p>
      </dsp:txBody>
      <dsp:txXfrm>
        <a:off x="1018201" y="2040656"/>
        <a:ext cx="1862039" cy="60051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BE8322-F3B6-4291-91DB-86233FB86F5C}">
      <dsp:nvSpPr>
        <dsp:cNvPr id="0" name=""/>
        <dsp:cNvSpPr/>
      </dsp:nvSpPr>
      <dsp:spPr>
        <a:xfrm>
          <a:off x="2040" y="0"/>
          <a:ext cx="1224399" cy="1438281"/>
        </a:xfrm>
        <a:prstGeom prst="up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2FBD87-7E75-443E-939F-F76B3CABEC70}">
      <dsp:nvSpPr>
        <dsp:cNvPr id="0" name=""/>
        <dsp:cNvSpPr/>
      </dsp:nvSpPr>
      <dsp:spPr>
        <a:xfrm>
          <a:off x="1263171" y="0"/>
          <a:ext cx="2077768" cy="1438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2712" tIns="0" rIns="362712" bIns="362712" numCol="1" spcCol="1270" anchor="ctr" anchorCtr="0">
          <a:noAutofit/>
        </a:bodyPr>
        <a:lstStyle/>
        <a:p>
          <a:pPr lvl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100" kern="1200" smtClean="0"/>
            <a:t>HOTs</a:t>
          </a:r>
          <a:endParaRPr lang="en-US" sz="5100" kern="1200"/>
        </a:p>
      </dsp:txBody>
      <dsp:txXfrm>
        <a:off x="1263171" y="0"/>
        <a:ext cx="2077768" cy="1438281"/>
      </dsp:txXfrm>
    </dsp:sp>
    <dsp:sp modelId="{23A97691-00A5-47BB-AA8A-F538A5F6D68C}">
      <dsp:nvSpPr>
        <dsp:cNvPr id="0" name=""/>
        <dsp:cNvSpPr/>
      </dsp:nvSpPr>
      <dsp:spPr>
        <a:xfrm>
          <a:off x="369360" y="1558137"/>
          <a:ext cx="1224399" cy="1438281"/>
        </a:xfrm>
        <a:prstGeom prst="down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9C13D4-A1C1-4D71-A2BD-0C86F762FD88}">
      <dsp:nvSpPr>
        <dsp:cNvPr id="0" name=""/>
        <dsp:cNvSpPr/>
      </dsp:nvSpPr>
      <dsp:spPr>
        <a:xfrm>
          <a:off x="1630491" y="1558137"/>
          <a:ext cx="2077768" cy="1438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2712" tIns="0" rIns="362712" bIns="362712" numCol="1" spcCol="1270" anchor="ctr" anchorCtr="0">
          <a:noAutofit/>
        </a:bodyPr>
        <a:lstStyle/>
        <a:p>
          <a:pPr lvl="0" algn="l" defTabSz="2266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5100" kern="1200" smtClean="0"/>
            <a:t>LOTs</a:t>
          </a:r>
          <a:endParaRPr lang="en-US" sz="5100" kern="1200"/>
        </a:p>
      </dsp:txBody>
      <dsp:txXfrm>
        <a:off x="1630491" y="1558137"/>
        <a:ext cx="2077768" cy="143828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53C3CE-BFB3-4FD7-8E3C-7047B52D97E8}">
      <dsp:nvSpPr>
        <dsp:cNvPr id="0" name=""/>
        <dsp:cNvSpPr/>
      </dsp:nvSpPr>
      <dsp:spPr>
        <a:xfrm>
          <a:off x="329" y="365546"/>
          <a:ext cx="1284636" cy="77078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200" kern="1200" smtClean="0"/>
            <a:t>TIMSS</a:t>
          </a:r>
          <a:endParaRPr lang="en-US" sz="3200" kern="1200"/>
        </a:p>
      </dsp:txBody>
      <dsp:txXfrm>
        <a:off x="329" y="365546"/>
        <a:ext cx="1284636" cy="770782"/>
      </dsp:txXfrm>
    </dsp:sp>
    <dsp:sp modelId="{12B62358-2C47-456E-BAF3-CE4AE830ADF4}">
      <dsp:nvSpPr>
        <dsp:cNvPr id="0" name=""/>
        <dsp:cNvSpPr/>
      </dsp:nvSpPr>
      <dsp:spPr>
        <a:xfrm>
          <a:off x="1413429" y="365546"/>
          <a:ext cx="1284636" cy="770782"/>
        </a:xfrm>
        <a:prstGeom prst="rect">
          <a:avLst/>
        </a:prstGeom>
        <a:solidFill>
          <a:schemeClr val="accent4">
            <a:hueOff val="5293564"/>
            <a:satOff val="4867"/>
            <a:lumOff val="7059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3200" kern="1200" smtClean="0"/>
            <a:t>PISA</a:t>
          </a:r>
          <a:endParaRPr lang="en-US" sz="3200" kern="1200"/>
        </a:p>
      </dsp:txBody>
      <dsp:txXfrm>
        <a:off x="1413429" y="365546"/>
        <a:ext cx="1284636" cy="77078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1E8A2E-46ED-4E9E-A595-9C76B50F7287}">
      <dsp:nvSpPr>
        <dsp:cNvPr id="0" name=""/>
        <dsp:cNvSpPr/>
      </dsp:nvSpPr>
      <dsp:spPr>
        <a:xfrm rot="21300000">
          <a:off x="861524" y="1478507"/>
          <a:ext cx="8490095" cy="742787"/>
        </a:xfrm>
        <a:prstGeom prst="mathMinus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1CD6DA-AF8E-4BE8-ADF3-309589123A1C}">
      <dsp:nvSpPr>
        <dsp:cNvPr id="0" name=""/>
        <dsp:cNvSpPr/>
      </dsp:nvSpPr>
      <dsp:spPr>
        <a:xfrm>
          <a:off x="1225577" y="184990"/>
          <a:ext cx="3063943" cy="1479921"/>
        </a:xfrm>
        <a:prstGeom prst="down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A69E0A7-DADA-4B0A-ABEE-36459255B189}">
      <dsp:nvSpPr>
        <dsp:cNvPr id="0" name=""/>
        <dsp:cNvSpPr/>
      </dsp:nvSpPr>
      <dsp:spPr>
        <a:xfrm>
          <a:off x="5412966" y="0"/>
          <a:ext cx="3268206" cy="155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2064" tIns="512064" rIns="512064" bIns="512064" numCol="1" spcCol="1270" anchor="ctr" anchorCtr="0">
          <a:noAutofit/>
        </a:bodyPr>
        <a:lstStyle/>
        <a:p>
          <a:pPr lvl="0" algn="ctr" defTabSz="3200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7200" kern="1200" smtClean="0">
              <a:solidFill>
                <a:schemeClr val="bg1"/>
              </a:solidFill>
            </a:rPr>
            <a:t>Urban</a:t>
          </a:r>
          <a:endParaRPr lang="en-US" sz="7200" kern="1200">
            <a:solidFill>
              <a:schemeClr val="bg1"/>
            </a:solidFill>
          </a:endParaRPr>
        </a:p>
      </dsp:txBody>
      <dsp:txXfrm>
        <a:off x="5412966" y="0"/>
        <a:ext cx="3268206" cy="1553917"/>
      </dsp:txXfrm>
    </dsp:sp>
    <dsp:sp modelId="{AB89FE55-AB11-402B-95C6-CDD57F4CA59B}">
      <dsp:nvSpPr>
        <dsp:cNvPr id="0" name=""/>
        <dsp:cNvSpPr/>
      </dsp:nvSpPr>
      <dsp:spPr>
        <a:xfrm>
          <a:off x="5923624" y="2034891"/>
          <a:ext cx="3063943" cy="1479921"/>
        </a:xfrm>
        <a:prstGeom prst="upArrow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69AF57-02DE-4DA3-88AD-20EBA136D78F}">
      <dsp:nvSpPr>
        <dsp:cNvPr id="0" name=""/>
        <dsp:cNvSpPr/>
      </dsp:nvSpPr>
      <dsp:spPr>
        <a:xfrm>
          <a:off x="1531971" y="2145885"/>
          <a:ext cx="3268206" cy="15539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2064" tIns="512064" rIns="512064" bIns="512064" numCol="1" spcCol="1270" anchor="ctr" anchorCtr="0">
          <a:noAutofit/>
        </a:bodyPr>
        <a:lstStyle/>
        <a:p>
          <a:pPr lvl="0" algn="ctr" defTabSz="3200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MY" sz="7200" kern="1200" smtClean="0">
              <a:solidFill>
                <a:schemeClr val="bg1"/>
              </a:solidFill>
            </a:rPr>
            <a:t>Rural</a:t>
          </a:r>
          <a:endParaRPr lang="en-US" sz="7200" kern="1200">
            <a:solidFill>
              <a:schemeClr val="bg1"/>
            </a:solidFill>
          </a:endParaRPr>
        </a:p>
      </dsp:txBody>
      <dsp:txXfrm>
        <a:off x="1531971" y="2145885"/>
        <a:ext cx="3268206" cy="15539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balance1">
  <dgm:title val=""/>
  <dgm:desc val=""/>
  <dgm:catLst>
    <dgm:cat type="relationship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25" srcId="2" destId="23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2"/>
        <dgm:pt modelId="21"/>
        <dgm:pt modelId="22"/>
        <dgm:pt modelId="23"/>
      </dgm:ptLst>
      <dgm:cxnLst>
        <dgm:cxn modelId="4" srcId="0" destId="1" srcOrd="0" destOrd="0"/>
        <dgm:cxn modelId="5" srcId="0" destId="2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25" srcId="2" destId="21" srcOrd="0" destOrd="0"/>
        <dgm:cxn modelId="26" srcId="2" destId="22" srcOrd="0" destOrd="0"/>
        <dgm:cxn modelId="27" srcId="2" destId="23" srcOrd="0" destOrd="0"/>
      </dgm:cxnLst>
      <dgm:bg/>
      <dgm:whole/>
    </dgm:dataModel>
  </dgm:clrData>
  <dgm:layoutNode name="outerComposite">
    <dgm:varLst>
      <dgm:chMax val="2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>
      <dgm:constr type="h" for="ch" forName="parentComposite" refType="h" refFor="ch" refForName="dummyMaxCanvas" op="equ" fact="0.2"/>
      <dgm:constr type="t" for="ch" forName="parentComposite"/>
      <dgm:constr type="h" for="ch" forName="childrenComposite" refType="h" refFor="ch" refForName="dummyMaxCanvas" op="equ" fact="0.8"/>
      <dgm:constr type="t" for="ch" forName="childrenComposite" refType="h" refFor="ch" refForName="dummyMaxCanvas" fact="0.2"/>
    </dgm:constrLst>
    <dgm:ruleLst/>
    <dgm:layoutNode name="dummyMaxCanvas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arentComposite">
      <dgm:alg type="composite"/>
      <dgm:shape xmlns:r="http://schemas.openxmlformats.org/officeDocument/2006/relationships" r:blip="">
        <dgm:adjLst/>
      </dgm:shape>
      <dgm:presOf/>
      <dgm:constrLst>
        <dgm:constr type="w" for="ch" forName="parent1" refType="w" fact="0.36"/>
        <dgm:constr type="ctrX" for="ch" forName="parent1" refType="w" fact="0.24"/>
        <dgm:constr type="w" for="ch" forName="parent2" refType="w" fact="0.36"/>
        <dgm:constr type="ctrX" for="ch" forName="parent2" refType="w" fact="0.76"/>
        <dgm:constr type="primFontSz" for="ch" ptType="node" op="equ"/>
      </dgm:constrLst>
      <dgm:ruleLst/>
      <dgm:layoutNode name="parent1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arent2" styleLbl="alignAccFollowNode1">
        <dgm:varLst>
          <dgm:chMax val="4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ch" ptType="node" st="2" cnt="1"/>
        <dgm:constrLst>
          <dgm:constr type="primFontSz" val="65"/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</dgm:layoutNode>
    <dgm:layoutNode name="childrenComposite">
      <dgm:alg type="composite"/>
      <dgm:shape xmlns:r="http://schemas.openxmlformats.org/officeDocument/2006/relationships" r:blip="">
        <dgm:adjLst/>
      </dgm:shape>
      <dgm:presOf/>
      <dgm:constrLst>
        <dgm:constr type="primFontSz" for="ch" ptType="node" op="equ" val="65"/>
        <dgm:constr type="w" for="ch" forName="fulcrum" refType="w" fact="0.15"/>
        <dgm:constr type="h" for="ch" forName="fulcrum" refType="w" refFor="ch" refForName="fulcrum"/>
        <dgm:constr type="b" for="ch" forName="fulcrum" refType="h"/>
        <dgm:constr type="ctrX" for="ch" forName="fulcrum" refType="w" fact="0.5"/>
        <dgm:constr type="w" for="ch" forName="balance_00" refType="w" fact="0.9"/>
        <dgm:constr type="h" for="ch" forName="balance_00" refType="h" fact="0.076"/>
        <dgm:constr type="b" for="ch" forName="balance_00" refType="h" fact="0.81"/>
        <dgm:constr type="ctrX" for="ch" forName="balance_00" refType="w" fact="0.5"/>
        <dgm:constr type="w" for="ch" forName="balance_01" refType="w"/>
        <dgm:constr type="h" for="ch" forName="balance_01" refType="h" fact="0.157"/>
        <dgm:constr type="b" for="ch" forName="balance_01" refType="h" fact="0.85"/>
        <dgm:constr type="ctrX" for="ch" forName="balance_01" refType="w" fact="0.5"/>
        <dgm:constr type="w" for="ch" forName="balance_02" refType="w"/>
        <dgm:constr type="h" for="ch" forName="balance_02" refType="h" fact="0.157"/>
        <dgm:constr type="b" for="ch" forName="balance_02" refType="h" fact="0.85"/>
        <dgm:constr type="ctrX" for="ch" forName="balance_02" refType="w" fact="0.5"/>
        <dgm:constr type="w" for="ch" forName="balance_03" refType="w"/>
        <dgm:constr type="h" for="ch" forName="balance_03" refType="h" fact="0.157"/>
        <dgm:constr type="b" for="ch" forName="balance_03" refType="h" fact="0.85"/>
        <dgm:constr type="ctrX" for="ch" forName="balance_03" refType="w" fact="0.5"/>
        <dgm:constr type="w" for="ch" forName="balance_04" refType="w"/>
        <dgm:constr type="h" for="ch" forName="balance_04" refType="h" fact="0.157"/>
        <dgm:constr type="b" for="ch" forName="balance_04" refType="h" fact="0.85"/>
        <dgm:constr type="ctrX" for="ch" forName="balance_04" refType="w" fact="0.5"/>
        <dgm:constr type="w" for="ch" forName="balance_10" refType="w"/>
        <dgm:constr type="h" for="ch" forName="balance_10" refType="h" fact="0.157"/>
        <dgm:constr type="b" for="ch" forName="balance_10" refType="h" fact="0.85"/>
        <dgm:constr type="ctrX" for="ch" forName="balance_10" refType="w" fact="0.5"/>
        <dgm:constr type="w" for="ch" forName="balance_11" refType="w" fact="0.9"/>
        <dgm:constr type="h" for="ch" forName="balance_11" refType="h" fact="0.076"/>
        <dgm:constr type="b" for="ch" forName="balance_11" refType="h" fact="0.81"/>
        <dgm:constr type="ctrX" for="ch" forName="balance_11" refType="w" fact="0.5"/>
        <dgm:constr type="w" for="ch" forName="balance_12" refType="w"/>
        <dgm:constr type="h" for="ch" forName="balance_12" refType="h" fact="0.157"/>
        <dgm:constr type="b" for="ch" forName="balance_12" refType="h" fact="0.85"/>
        <dgm:constr type="ctrX" for="ch" forName="balance_12" refType="w" fact="0.5"/>
        <dgm:constr type="w" for="ch" forName="balance_13" refType="w"/>
        <dgm:constr type="h" for="ch" forName="balance_13" refType="h" fact="0.157"/>
        <dgm:constr type="b" for="ch" forName="balance_13" refType="h" fact="0.85"/>
        <dgm:constr type="ctrX" for="ch" forName="balance_13" refType="w" fact="0.5"/>
        <dgm:constr type="w" for="ch" forName="balance_14" refType="w"/>
        <dgm:constr type="h" for="ch" forName="balance_14" refType="h" fact="0.157"/>
        <dgm:constr type="b" for="ch" forName="balance_14" refType="h" fact="0.85"/>
        <dgm:constr type="ctrX" for="ch" forName="balance_14" refType="w" fact="0.5"/>
        <dgm:constr type="w" for="ch" forName="balance_20" refType="w"/>
        <dgm:constr type="h" for="ch" forName="balance_20" refType="h" fact="0.157"/>
        <dgm:constr type="b" for="ch" forName="balance_20" refType="h" fact="0.85"/>
        <dgm:constr type="ctrX" for="ch" forName="balance_20" refType="w" fact="0.5"/>
        <dgm:constr type="w" for="ch" forName="balance_21" refType="w"/>
        <dgm:constr type="h" for="ch" forName="balance_21" refType="h" fact="0.157"/>
        <dgm:constr type="b" for="ch" forName="balance_21" refType="h" fact="0.85"/>
        <dgm:constr type="ctrX" for="ch" forName="balance_21" refType="w" fact="0.5"/>
        <dgm:constr type="w" for="ch" forName="balance_22" refType="w" fact="0.9"/>
        <dgm:constr type="h" for="ch" forName="balance_22" refType="h" fact="0.076"/>
        <dgm:constr type="b" for="ch" forName="balance_22" refType="h" fact="0.81"/>
        <dgm:constr type="ctrX" for="ch" forName="balance_22" refType="w" fact="0.5"/>
        <dgm:constr type="w" for="ch" forName="balance_23" refType="w"/>
        <dgm:constr type="h" for="ch" forName="balance_23" refType="h" fact="0.157"/>
        <dgm:constr type="b" for="ch" forName="balance_23" refType="h" fact="0.85"/>
        <dgm:constr type="ctrX" for="ch" forName="balance_23" refType="w" fact="0.5"/>
        <dgm:constr type="w" for="ch" forName="balance_24" refType="w"/>
        <dgm:constr type="h" for="ch" forName="balance_24" refType="h" fact="0.157"/>
        <dgm:constr type="b" for="ch" forName="balance_24" refType="h" fact="0.85"/>
        <dgm:constr type="ctrX" for="ch" forName="balance_24" refType="w" fact="0.5"/>
        <dgm:constr type="w" for="ch" forName="balance_30" refType="w"/>
        <dgm:constr type="h" for="ch" forName="balance_30" refType="h" fact="0.157"/>
        <dgm:constr type="b" for="ch" forName="balance_30" refType="h" fact="0.85"/>
        <dgm:constr type="ctrX" for="ch" forName="balance_30" refType="w" fact="0.5"/>
        <dgm:constr type="w" for="ch" forName="balance_31" refType="w"/>
        <dgm:constr type="h" for="ch" forName="balance_31" refType="h" fact="0.157"/>
        <dgm:constr type="b" for="ch" forName="balance_31" refType="h" fact="0.85"/>
        <dgm:constr type="ctrX" for="ch" forName="balance_31" refType="w" fact="0.5"/>
        <dgm:constr type="w" for="ch" forName="balance_32" refType="w"/>
        <dgm:constr type="h" for="ch" forName="balance_32" refType="h" fact="0.157"/>
        <dgm:constr type="b" for="ch" forName="balance_32" refType="h" fact="0.85"/>
        <dgm:constr type="ctrX" for="ch" forName="balance_32" refType="w" fact="0.5"/>
        <dgm:constr type="w" for="ch" forName="balance_33" refType="w" fact="0.9"/>
        <dgm:constr type="h" for="ch" forName="balance_33" refType="h" fact="0.076"/>
        <dgm:constr type="b" for="ch" forName="balance_33" refType="h" fact="0.81"/>
        <dgm:constr type="ctrX" for="ch" forName="balance_33" refType="w" fact="0.5"/>
        <dgm:constr type="w" for="ch" forName="balance_34" refType="w"/>
        <dgm:constr type="h" for="ch" forName="balance_34" refType="h" fact="0.157"/>
        <dgm:constr type="b" for="ch" forName="balance_34" refType="h" fact="0.85"/>
        <dgm:constr type="ctrX" for="ch" forName="balance_34" refType="w" fact="0.5"/>
        <dgm:constr type="w" for="ch" forName="balance_40" refType="w"/>
        <dgm:constr type="h" for="ch" forName="balance_40" refType="h" fact="0.157"/>
        <dgm:constr type="b" for="ch" forName="balance_40" refType="h" fact="0.85"/>
        <dgm:constr type="ctrX" for="ch" forName="balance_40" refType="w" fact="0.5"/>
        <dgm:constr type="w" for="ch" forName="balance_41" refType="w"/>
        <dgm:constr type="h" for="ch" forName="balance_41" refType="h" fact="0.157"/>
        <dgm:constr type="b" for="ch" forName="balance_41" refType="h" fact="0.85"/>
        <dgm:constr type="ctrX" for="ch" forName="balance_41" refType="w" fact="0.5"/>
        <dgm:constr type="w" for="ch" forName="balance_42" refType="w"/>
        <dgm:constr type="h" for="ch" forName="balance_42" refType="h" fact="0.157"/>
        <dgm:constr type="b" for="ch" forName="balance_42" refType="h" fact="0.85"/>
        <dgm:constr type="ctrX" for="ch" forName="balance_42" refType="w" fact="0.5"/>
        <dgm:constr type="w" for="ch" forName="balance_43" refType="w"/>
        <dgm:constr type="h" for="ch" forName="balance_43" refType="h" fact="0.157"/>
        <dgm:constr type="b" for="ch" forName="balance_43" refType="h" fact="0.85"/>
        <dgm:constr type="ctrX" for="ch" forName="balance_43" refType="w" fact="0.5"/>
        <dgm:constr type="w" for="ch" forName="balance_44" refType="w" fact="0.9"/>
        <dgm:constr type="h" for="ch" forName="balance_44" refType="h" fact="0.076"/>
        <dgm:constr type="b" for="ch" forName="balance_44" refType="h" fact="0.81"/>
        <dgm:constr type="ctrX" for="ch" forName="balance_44" refType="w" fact="0.5"/>
        <dgm:constr type="w" for="ch" forName="right_01_1" refType="w" fact="0.4"/>
        <dgm:constr type="h" for="ch" forName="right_01_1" refType="h" fact="0.7"/>
        <dgm:constr type="b" for="ch" forName="right_01_1" refType="h" fact="0.76"/>
        <dgm:constr type="ctrX" for="ch" forName="right_01_1" refType="w" fact="0.78"/>
        <dgm:constr type="w" for="ch" forName="left_10_1" refType="w" fact="0.4"/>
        <dgm:constr type="h" for="ch" forName="left_10_1" refType="h" fact="0.7"/>
        <dgm:constr type="b" for="ch" forName="left_10_1" refType="h" fact="0.76"/>
        <dgm:constr type="ctrX" for="ch" forName="left_10_1" refType="w" fact="0.22"/>
        <dgm:constr type="w" for="ch" forName="right_11_1" refType="w" fact="0.36"/>
        <dgm:constr type="h" for="ch" forName="right_11_1" refType="h" fact="0.67"/>
        <dgm:constr type="b" for="ch" forName="right_11_1" refType="h" fact="0.725"/>
        <dgm:constr type="ctrX" for="ch" forName="right_11_1" refType="w" fact="0.76"/>
        <dgm:constr type="w" for="ch" forName="left_11_1" refType="w" fact="0.36"/>
        <dgm:constr type="h" for="ch" forName="left_11_1" refType="h" fact="0.67"/>
        <dgm:constr type="b" for="ch" forName="left_11_1" refType="h" fact="0.725"/>
        <dgm:constr type="ctrX" for="ch" forName="left_11_1" refType="w" fact="0.24"/>
        <dgm:constr type="w" for="ch" forName="right_02_1" refType="w" fact="0.388"/>
        <dgm:constr type="h" for="ch" forName="right_02_1" refType="h" fact="0.36"/>
        <dgm:constr type="b" for="ch" forName="right_02_1" refType="h" fact="0.76"/>
        <dgm:constr type="ctrX" for="ch" forName="right_02_1" refType="w" fact="0.77"/>
        <dgm:constr type="w" for="ch" forName="right_02_2" refType="w" fact="0.388"/>
        <dgm:constr type="h" for="ch" forName="right_02_2" refType="h" fact="0.36"/>
        <dgm:constr type="b" for="ch" forName="right_02_2" refType="h" fact="0.42"/>
        <dgm:constr type="ctrX" for="ch" forName="right_02_2" refType="w" fact="0.79"/>
        <dgm:constr type="w" for="ch" forName="left_20_1" refType="w" fact="0.388"/>
        <dgm:constr type="h" for="ch" forName="left_20_1" refType="h" fact="0.36"/>
        <dgm:constr type="b" for="ch" forName="left_20_1" refType="h" fact="0.76"/>
        <dgm:constr type="ctrX" for="ch" forName="left_20_1" refType="w" fact="0.23"/>
        <dgm:constr type="w" for="ch" forName="left_20_2" refType="w" fact="0.388"/>
        <dgm:constr type="h" for="ch" forName="left_20_2" refType="h" fact="0.36"/>
        <dgm:constr type="b" for="ch" forName="left_20_2" refType="h" fact="0.42"/>
        <dgm:constr type="ctrX" for="ch" forName="left_20_2" refType="w" fact="0.21"/>
        <dgm:constr type="w" for="ch" forName="right_12_1" refType="w" fact="0.388"/>
        <dgm:constr type="h" for="ch" forName="right_12_1" refType="h" fact="0.36"/>
        <dgm:constr type="b" for="ch" forName="right_12_1" refType="h" fact="0.76"/>
        <dgm:constr type="ctrX" for="ch" forName="right_12_1" refType="w" fact="0.77"/>
        <dgm:constr type="w" for="ch" forName="right_12_2" refType="w" fact="0.388"/>
        <dgm:constr type="h" for="ch" forName="right_12_2" refType="h" fact="0.36"/>
        <dgm:constr type="b" for="ch" forName="right_12_2" refType="h" fact="0.42"/>
        <dgm:constr type="ctrX" for="ch" forName="right_12_2" refType="w" fact="0.79"/>
        <dgm:constr type="w" for="ch" forName="left_12_1" refType="w" fact="0.388"/>
        <dgm:constr type="h" for="ch" forName="left_12_1" refType="h" fact="0.36"/>
        <dgm:constr type="b" for="ch" forName="left_12_1" refType="h" fact="0.715"/>
        <dgm:constr type="ctrX" for="ch" forName="left_12_1" refType="w" fact="0.255"/>
        <dgm:constr type="w" for="ch" forName="right_22_1" refType="w" fact="0.36"/>
        <dgm:constr type="h" for="ch" forName="right_22_1" refType="h" fact="0.32"/>
        <dgm:constr type="b" for="ch" forName="right_22_1" refType="h" fact="0.725"/>
        <dgm:constr type="ctrX" for="ch" forName="right_22_1" refType="w" fact="0.76"/>
        <dgm:constr type="w" for="ch" forName="right_22_2" refType="w" fact="0.36"/>
        <dgm:constr type="h" for="ch" forName="right_22_2" refType="h" fact="0.32"/>
        <dgm:constr type="b" for="ch" forName="right_22_2" refType="h" fact="0.39"/>
        <dgm:constr type="ctrX" for="ch" forName="right_22_2" refType="w" fact="0.76"/>
        <dgm:constr type="w" for="ch" forName="left_22_1" refType="w" fact="0.36"/>
        <dgm:constr type="h" for="ch" forName="left_22_1" refType="h" fact="0.32"/>
        <dgm:constr type="b" for="ch" forName="left_22_1" refType="h" fact="0.725"/>
        <dgm:constr type="ctrX" for="ch" forName="left_22_1" refType="w" fact="0.24"/>
        <dgm:constr type="w" for="ch" forName="left_22_2" refType="w" fact="0.36"/>
        <dgm:constr type="h" for="ch" forName="left_22_2" refType="h" fact="0.32"/>
        <dgm:constr type="b" for="ch" forName="left_22_2" refType="h" fact="0.39"/>
        <dgm:constr type="ctrX" for="ch" forName="left_22_2" refType="w" fact="0.24"/>
        <dgm:constr type="w" for="ch" forName="left_21_1" refType="w" fact="0.388"/>
        <dgm:constr type="h" for="ch" forName="left_21_1" refType="h" fact="0.36"/>
        <dgm:constr type="b" for="ch" forName="left_21_1" refType="h" fact="0.76"/>
        <dgm:constr type="ctrX" for="ch" forName="left_21_1" refType="w" fact="0.23"/>
        <dgm:constr type="w" for="ch" forName="left_21_2" refType="w" fact="0.388"/>
        <dgm:constr type="h" for="ch" forName="left_21_2" refType="h" fact="0.36"/>
        <dgm:constr type="b" for="ch" forName="left_21_2" refType="h" fact="0.42"/>
        <dgm:constr type="ctrX" for="ch" forName="left_21_2" refType="w" fact="0.21"/>
        <dgm:constr type="w" for="ch" forName="right_21_1" refType="w" fact="0.388"/>
        <dgm:constr type="h" for="ch" forName="right_21_1" refType="h" fact="0.36"/>
        <dgm:constr type="b" for="ch" forName="right_21_1" refType="h" fact="0.715"/>
        <dgm:constr type="ctrX" for="ch" forName="right_21_1" refType="w" fact="0.745"/>
        <dgm:constr type="w" for="ch" forName="right_03_1" refType="w" fact="0.37"/>
        <dgm:constr type="h" for="ch" forName="right_03_1" refType="h" fact="0.24"/>
        <dgm:constr type="b" for="ch" forName="right_03_1" refType="h" fact="0.76"/>
        <dgm:constr type="ctrX" for="ch" forName="right_03_1" refType="w" fact="0.77"/>
        <dgm:constr type="w" for="ch" forName="right_03_2" refType="w" fact="0.37"/>
        <dgm:constr type="h" for="ch" forName="right_03_2" refType="h" fact="0.24"/>
        <dgm:constr type="b" for="ch" forName="right_03_2" refType="h" fact="0.535"/>
        <dgm:constr type="ctrX" for="ch" forName="right_03_2" refType="w" fact="0.783"/>
        <dgm:constr type="w" for="ch" forName="right_03_3" refType="w" fact="0.37"/>
        <dgm:constr type="h" for="ch" forName="right_03_3" refType="h" fact="0.24"/>
        <dgm:constr type="b" for="ch" forName="right_03_3" refType="h" fact="0.315"/>
        <dgm:constr type="ctrX" for="ch" forName="right_03_3" refType="w" fact="0.796"/>
        <dgm:constr type="w" for="ch" forName="left_30_1" refType="w" fact="0.37"/>
        <dgm:constr type="h" for="ch" forName="left_30_1" refType="h" fact="0.24"/>
        <dgm:constr type="b" for="ch" forName="left_30_1" refType="h" fact="0.76"/>
        <dgm:constr type="ctrX" for="ch" forName="left_30_1" refType="w" fact="0.23"/>
        <dgm:constr type="w" for="ch" forName="left_30_2" refType="w" fact="0.37"/>
        <dgm:constr type="h" for="ch" forName="left_30_2" refType="h" fact="0.24"/>
        <dgm:constr type="b" for="ch" forName="left_30_2" refType="h" fact="0.535"/>
        <dgm:constr type="ctrX" for="ch" forName="left_30_2" refType="w" fact="0.217"/>
        <dgm:constr type="w" for="ch" forName="left_30_3" refType="w" fact="0.37"/>
        <dgm:constr type="h" for="ch" forName="left_30_3" refType="h" fact="0.24"/>
        <dgm:constr type="b" for="ch" forName="left_30_3" refType="h" fact="0.315"/>
        <dgm:constr type="ctrX" for="ch" forName="left_30_3" refType="w" fact="0.204"/>
        <dgm:constr type="w" for="ch" forName="right_13_1" refType="w" fact="0.37"/>
        <dgm:constr type="h" for="ch" forName="right_13_1" refType="h" fact="0.24"/>
        <dgm:constr type="b" for="ch" forName="right_13_1" refType="h" fact="0.76"/>
        <dgm:constr type="ctrX" for="ch" forName="right_13_1" refType="w" fact="0.77"/>
        <dgm:constr type="w" for="ch" forName="right_13_2" refType="w" fact="0.37"/>
        <dgm:constr type="h" for="ch" forName="right_13_2" refType="h" fact="0.24"/>
        <dgm:constr type="b" for="ch" forName="right_13_2" refType="h" fact="0.535"/>
        <dgm:constr type="ctrX" for="ch" forName="right_13_2" refType="w" fact="0.783"/>
        <dgm:constr type="w" for="ch" forName="right_13_3" refType="w" fact="0.37"/>
        <dgm:constr type="h" for="ch" forName="right_13_3" refType="h" fact="0.24"/>
        <dgm:constr type="b" for="ch" forName="right_13_3" refType="h" fact="0.315"/>
        <dgm:constr type="ctrX" for="ch" forName="right_13_3" refType="w" fact="0.796"/>
        <dgm:constr type="w" for="ch" forName="left_13_1" refType="w" fact="0.37"/>
        <dgm:constr type="h" for="ch" forName="left_13_1" refType="h" fact="0.24"/>
        <dgm:constr type="b" for="ch" forName="left_13_1" refType="h" fact="0.715"/>
        <dgm:constr type="ctrX" for="ch" forName="left_13_1" refType="w" fact="0.255"/>
        <dgm:constr type="w" for="ch" forName="left_31_1" refType="w" fact="0.37"/>
        <dgm:constr type="h" for="ch" forName="left_31_1" refType="h" fact="0.24"/>
        <dgm:constr type="b" for="ch" forName="left_31_1" refType="h" fact="0.76"/>
        <dgm:constr type="ctrX" for="ch" forName="left_31_1" refType="w" fact="0.23"/>
        <dgm:constr type="w" for="ch" forName="left_31_2" refType="w" fact="0.37"/>
        <dgm:constr type="h" for="ch" forName="left_31_2" refType="h" fact="0.24"/>
        <dgm:constr type="b" for="ch" forName="left_31_2" refType="h" fact="0.535"/>
        <dgm:constr type="ctrX" for="ch" forName="left_31_2" refType="w" fact="0.217"/>
        <dgm:constr type="w" for="ch" forName="left_31_3" refType="w" fact="0.37"/>
        <dgm:constr type="h" for="ch" forName="left_31_3" refType="h" fact="0.24"/>
        <dgm:constr type="b" for="ch" forName="left_31_3" refType="h" fact="0.315"/>
        <dgm:constr type="ctrX" for="ch" forName="left_31_3" refType="w" fact="0.204"/>
        <dgm:constr type="w" for="ch" forName="right_31_1" refType="w" fact="0.37"/>
        <dgm:constr type="h" for="ch" forName="right_31_1" refType="h" fact="0.24"/>
        <dgm:constr type="b" for="ch" forName="right_31_1" refType="h" fact="0.715"/>
        <dgm:constr type="ctrX" for="ch" forName="right_31_1" refType="w" fact="0.745"/>
        <dgm:constr type="w" for="ch" forName="right_23_1" refType="w" fact="0.37"/>
        <dgm:constr type="h" for="ch" forName="right_23_1" refType="h" fact="0.24"/>
        <dgm:constr type="b" for="ch" forName="right_23_1" refType="h" fact="0.76"/>
        <dgm:constr type="ctrX" for="ch" forName="right_23_1" refType="w" fact="0.77"/>
        <dgm:constr type="w" for="ch" forName="right_23_2" refType="w" fact="0.37"/>
        <dgm:constr type="h" for="ch" forName="right_23_2" refType="h" fact="0.24"/>
        <dgm:constr type="b" for="ch" forName="right_23_2" refType="h" fact="0.535"/>
        <dgm:constr type="ctrX" for="ch" forName="right_23_2" refType="w" fact="0.783"/>
        <dgm:constr type="w" for="ch" forName="right_23_3" refType="w" fact="0.37"/>
        <dgm:constr type="h" for="ch" forName="right_23_3" refType="h" fact="0.24"/>
        <dgm:constr type="b" for="ch" forName="right_23_3" refType="h" fact="0.315"/>
        <dgm:constr type="ctrX" for="ch" forName="right_23_3" refType="w" fact="0.796"/>
        <dgm:constr type="w" for="ch" forName="left_23_1" refType="w" fact="0.37"/>
        <dgm:constr type="h" for="ch" forName="left_23_1" refType="h" fact="0.24"/>
        <dgm:constr type="b" for="ch" forName="left_23_1" refType="h" fact="0.715"/>
        <dgm:constr type="ctrX" for="ch" forName="left_23_1" refType="w" fact="0.255"/>
        <dgm:constr type="w" for="ch" forName="left_23_2" refType="w" fact="0.37"/>
        <dgm:constr type="h" for="ch" forName="left_23_2" refType="h" fact="0.24"/>
        <dgm:constr type="b" for="ch" forName="left_23_2" refType="h" fact="0.49"/>
        <dgm:constr type="ctrX" for="ch" forName="left_23_2" refType="w" fact="0.268"/>
        <dgm:constr type="w" for="ch" forName="left_32_1" refType="w" fact="0.37"/>
        <dgm:constr type="h" for="ch" forName="left_32_1" refType="h" fact="0.24"/>
        <dgm:constr type="b" for="ch" forName="left_32_1" refType="h" fact="0.76"/>
        <dgm:constr type="ctrX" for="ch" forName="left_32_1" refType="w" fact="0.23"/>
        <dgm:constr type="w" for="ch" forName="left_32_2" refType="w" fact="0.37"/>
        <dgm:constr type="h" for="ch" forName="left_32_2" refType="h" fact="0.24"/>
        <dgm:constr type="b" for="ch" forName="left_32_2" refType="h" fact="0.535"/>
        <dgm:constr type="ctrX" for="ch" forName="left_32_2" refType="w" fact="0.217"/>
        <dgm:constr type="w" for="ch" forName="left_32_3" refType="w" fact="0.37"/>
        <dgm:constr type="h" for="ch" forName="left_32_3" refType="h" fact="0.24"/>
        <dgm:constr type="b" for="ch" forName="left_32_3" refType="h" fact="0.315"/>
        <dgm:constr type="ctrX" for="ch" forName="left_32_3" refType="w" fact="0.204"/>
        <dgm:constr type="w" for="ch" forName="right_32_1" refType="w" fact="0.37"/>
        <dgm:constr type="h" for="ch" forName="right_32_1" refType="h" fact="0.24"/>
        <dgm:constr type="b" for="ch" forName="right_32_1" refType="h" fact="0.715"/>
        <dgm:constr type="ctrX" for="ch" forName="right_32_1" refType="w" fact="0.745"/>
        <dgm:constr type="w" for="ch" forName="right_32_2" refType="w" fact="0.37"/>
        <dgm:constr type="h" for="ch" forName="right_32_2" refType="h" fact="0.24"/>
        <dgm:constr type="b" for="ch" forName="right_32_2" refType="h" fact="0.49"/>
        <dgm:constr type="ctrX" for="ch" forName="right_32_2" refType="w" fact="0.732"/>
        <dgm:constr type="w" for="ch" forName="right_33_1" refType="w" fact="0.36"/>
        <dgm:constr type="h" for="ch" forName="right_33_1" refType="h" fact="0.21"/>
        <dgm:constr type="b" for="ch" forName="right_33_1" refType="h" fact="0.725"/>
        <dgm:constr type="ctrX" for="ch" forName="right_33_1" refType="w" fact="0.76"/>
        <dgm:constr type="w" for="ch" forName="right_33_2" refType="w" fact="0.36"/>
        <dgm:constr type="h" for="ch" forName="right_33_2" refType="h" fact="0.21"/>
        <dgm:constr type="b" for="ch" forName="right_33_2" refType="h" fact="0.5"/>
        <dgm:constr type="ctrX" for="ch" forName="right_33_2" refType="w" fact="0.76"/>
        <dgm:constr type="w" for="ch" forName="right_33_3" refType="w" fact="0.36"/>
        <dgm:constr type="h" for="ch" forName="right_33_3" refType="h" fact="0.21"/>
        <dgm:constr type="b" for="ch" forName="right_33_3" refType="h" fact="0.275"/>
        <dgm:constr type="ctrX" for="ch" forName="right_33_3" refType="w" fact="0.76"/>
        <dgm:constr type="w" for="ch" forName="left_33_1" refType="w" fact="0.36"/>
        <dgm:constr type="h" for="ch" forName="left_33_1" refType="h" fact="0.21"/>
        <dgm:constr type="b" for="ch" forName="left_33_1" refType="h" fact="0.725"/>
        <dgm:constr type="ctrX" for="ch" forName="left_33_1" refType="w" fact="0.24"/>
        <dgm:constr type="w" for="ch" forName="left_33_2" refType="w" fact="0.36"/>
        <dgm:constr type="h" for="ch" forName="left_33_2" refType="h" fact="0.21"/>
        <dgm:constr type="b" for="ch" forName="left_33_2" refType="h" fact="0.5"/>
        <dgm:constr type="ctrX" for="ch" forName="left_33_2" refType="w" fact="0.24"/>
        <dgm:constr type="w" for="ch" forName="left_33_3" refType="w" fact="0.36"/>
        <dgm:constr type="h" for="ch" forName="left_33_3" refType="h" fact="0.21"/>
        <dgm:constr type="b" for="ch" forName="left_33_3" refType="h" fact="0.275"/>
        <dgm:constr type="ctrX" for="ch" forName="left_33_3" refType="w" fact="0.24"/>
        <dgm:constr type="w" for="ch" forName="right_04_1" refType="w" fact="0.365"/>
        <dgm:constr type="h" for="ch" forName="right_04_1" refType="h" fact="0.185"/>
        <dgm:constr type="b" for="ch" forName="right_04_1" refType="h" fact="0.76"/>
        <dgm:constr type="ctrX" for="ch" forName="right_04_1" refType="w" fact="0.77"/>
        <dgm:constr type="w" for="ch" forName="right_04_2" refType="w" fact="0.365"/>
        <dgm:constr type="h" for="ch" forName="right_04_2" refType="h" fact="0.185"/>
        <dgm:constr type="b" for="ch" forName="right_04_2" refType="h" fact="0.595"/>
        <dgm:constr type="ctrX" for="ch" forName="right_04_2" refType="w" fact="0.78"/>
        <dgm:constr type="w" for="ch" forName="right_04_3" refType="w" fact="0.365"/>
        <dgm:constr type="h" for="ch" forName="right_04_3" refType="h" fact="0.185"/>
        <dgm:constr type="b" for="ch" forName="right_04_3" refType="h" fact="0.43"/>
        <dgm:constr type="ctrX" for="ch" forName="right_04_3" refType="w" fact="0.79"/>
        <dgm:constr type="w" for="ch" forName="right_04_4" refType="w" fact="0.365"/>
        <dgm:constr type="h" for="ch" forName="right_04_4" refType="h" fact="0.185"/>
        <dgm:constr type="b" for="ch" forName="right_04_4" refType="h" fact="0.265"/>
        <dgm:constr type="ctrX" for="ch" forName="right_04_4" refType="w" fact="0.8"/>
        <dgm:constr type="w" for="ch" forName="left_40_1" refType="w" fact="0.365"/>
        <dgm:constr type="h" for="ch" forName="left_40_1" refType="h" fact="0.185"/>
        <dgm:constr type="b" for="ch" forName="left_40_1" refType="h" fact="0.76"/>
        <dgm:constr type="ctrX" for="ch" forName="left_40_1" refType="w" fact="0.23"/>
        <dgm:constr type="w" for="ch" forName="left_40_2" refType="w" fact="0.365"/>
        <dgm:constr type="h" for="ch" forName="left_40_2" refType="h" fact="0.185"/>
        <dgm:constr type="b" for="ch" forName="left_40_2" refType="h" fact="0.595"/>
        <dgm:constr type="ctrX" for="ch" forName="left_40_2" refType="w" fact="0.22"/>
        <dgm:constr type="w" for="ch" forName="left_40_3" refType="w" fact="0.365"/>
        <dgm:constr type="h" for="ch" forName="left_40_3" refType="h" fact="0.185"/>
        <dgm:constr type="b" for="ch" forName="left_40_3" refType="h" fact="0.43"/>
        <dgm:constr type="ctrX" for="ch" forName="left_40_3" refType="w" fact="0.21"/>
        <dgm:constr type="w" for="ch" forName="left_40_4" refType="w" fact="0.365"/>
        <dgm:constr type="h" for="ch" forName="left_40_4" refType="h" fact="0.185"/>
        <dgm:constr type="b" for="ch" forName="left_40_4" refType="h" fact="0.265"/>
        <dgm:constr type="ctrX" for="ch" forName="left_40_4" refType="w" fact="0.2"/>
        <dgm:constr type="w" for="ch" forName="right_14_1" refType="w" fact="0.365"/>
        <dgm:constr type="h" for="ch" forName="right_14_1" refType="h" fact="0.185"/>
        <dgm:constr type="b" for="ch" forName="right_14_1" refType="h" fact="0.76"/>
        <dgm:constr type="ctrX" for="ch" forName="right_14_1" refType="w" fact="0.77"/>
        <dgm:constr type="w" for="ch" forName="right_14_2" refType="w" fact="0.365"/>
        <dgm:constr type="h" for="ch" forName="right_14_2" refType="h" fact="0.185"/>
        <dgm:constr type="b" for="ch" forName="right_14_2" refType="h" fact="0.595"/>
        <dgm:constr type="ctrX" for="ch" forName="right_14_2" refType="w" fact="0.78"/>
        <dgm:constr type="w" for="ch" forName="right_14_3" refType="w" fact="0.365"/>
        <dgm:constr type="h" for="ch" forName="right_14_3" refType="h" fact="0.185"/>
        <dgm:constr type="b" for="ch" forName="right_14_3" refType="h" fact="0.43"/>
        <dgm:constr type="ctrX" for="ch" forName="right_14_3" refType="w" fact="0.79"/>
        <dgm:constr type="w" for="ch" forName="right_14_4" refType="w" fact="0.365"/>
        <dgm:constr type="h" for="ch" forName="right_14_4" refType="h" fact="0.185"/>
        <dgm:constr type="b" for="ch" forName="right_14_4" refType="h" fact="0.265"/>
        <dgm:constr type="ctrX" for="ch" forName="right_14_4" refType="w" fact="0.8"/>
        <dgm:constr type="w" for="ch" forName="left_14_1" refType="w" fact="0.365"/>
        <dgm:constr type="h" for="ch" forName="left_14_1" refType="h" fact="0.185"/>
        <dgm:constr type="b" for="ch" forName="left_14_1" refType="h" fact="0.715"/>
        <dgm:constr type="ctrX" for="ch" forName="left_14_1" refType="w" fact="0.25"/>
        <dgm:constr type="w" for="ch" forName="left_41_1" refType="w" fact="0.365"/>
        <dgm:constr type="h" for="ch" forName="left_41_1" refType="h" fact="0.185"/>
        <dgm:constr type="b" for="ch" forName="left_41_1" refType="h" fact="0.76"/>
        <dgm:constr type="ctrX" for="ch" forName="left_41_1" refType="w" fact="0.23"/>
        <dgm:constr type="w" for="ch" forName="left_41_2" refType="w" fact="0.365"/>
        <dgm:constr type="h" for="ch" forName="left_41_2" refType="h" fact="0.185"/>
        <dgm:constr type="b" for="ch" forName="left_41_2" refType="h" fact="0.595"/>
        <dgm:constr type="ctrX" for="ch" forName="left_41_2" refType="w" fact="0.22"/>
        <dgm:constr type="w" for="ch" forName="left_41_3" refType="w" fact="0.365"/>
        <dgm:constr type="h" for="ch" forName="left_41_3" refType="h" fact="0.185"/>
        <dgm:constr type="b" for="ch" forName="left_41_3" refType="h" fact="0.43"/>
        <dgm:constr type="ctrX" for="ch" forName="left_41_3" refType="w" fact="0.21"/>
        <dgm:constr type="w" for="ch" forName="left_41_4" refType="w" fact="0.365"/>
        <dgm:constr type="h" for="ch" forName="left_41_4" refType="h" fact="0.185"/>
        <dgm:constr type="b" for="ch" forName="left_41_4" refType="h" fact="0.265"/>
        <dgm:constr type="ctrX" for="ch" forName="left_41_4" refType="w" fact="0.2"/>
        <dgm:constr type="w" for="ch" forName="right_41_1" refType="w" fact="0.365"/>
        <dgm:constr type="h" for="ch" forName="right_41_1" refType="h" fact="0.185"/>
        <dgm:constr type="b" for="ch" forName="right_41_1" refType="h" fact="0.715"/>
        <dgm:constr type="ctrX" for="ch" forName="right_41_1" refType="w" fact="0.75"/>
        <dgm:constr type="w" for="ch" forName="right_24_1" refType="w" fact="0.365"/>
        <dgm:constr type="h" for="ch" forName="right_24_1" refType="h" fact="0.185"/>
        <dgm:constr type="b" for="ch" forName="right_24_1" refType="h" fact="0.76"/>
        <dgm:constr type="ctrX" for="ch" forName="right_24_1" refType="w" fact="0.77"/>
        <dgm:constr type="w" for="ch" forName="right_24_2" refType="w" fact="0.365"/>
        <dgm:constr type="h" for="ch" forName="right_24_2" refType="h" fact="0.185"/>
        <dgm:constr type="b" for="ch" forName="right_24_2" refType="h" fact="0.595"/>
        <dgm:constr type="ctrX" for="ch" forName="right_24_2" refType="w" fact="0.78"/>
        <dgm:constr type="w" for="ch" forName="right_24_3" refType="w" fact="0.365"/>
        <dgm:constr type="h" for="ch" forName="right_24_3" refType="h" fact="0.185"/>
        <dgm:constr type="b" for="ch" forName="right_24_3" refType="h" fact="0.43"/>
        <dgm:constr type="ctrX" for="ch" forName="right_24_3" refType="w" fact="0.79"/>
        <dgm:constr type="w" for="ch" forName="right_24_4" refType="w" fact="0.365"/>
        <dgm:constr type="h" for="ch" forName="right_24_4" refType="h" fact="0.185"/>
        <dgm:constr type="b" for="ch" forName="right_24_4" refType="h" fact="0.265"/>
        <dgm:constr type="ctrX" for="ch" forName="right_24_4" refType="w" fact="0.8"/>
        <dgm:constr type="w" for="ch" forName="left_24_1" refType="w" fact="0.365"/>
        <dgm:constr type="h" for="ch" forName="left_24_1" refType="h" fact="0.185"/>
        <dgm:constr type="b" for="ch" forName="left_24_1" refType="h" fact="0.715"/>
        <dgm:constr type="ctrX" for="ch" forName="left_24_1" refType="w" fact="0.25"/>
        <dgm:constr type="w" for="ch" forName="left_24_2" refType="w" fact="0.365"/>
        <dgm:constr type="h" for="ch" forName="left_24_2" refType="h" fact="0.185"/>
        <dgm:constr type="b" for="ch" forName="left_24_2" refType="h" fact="0.55"/>
        <dgm:constr type="ctrX" for="ch" forName="left_24_2" refType="w" fact="0.26"/>
        <dgm:constr type="w" for="ch" forName="left_42_1" refType="w" fact="0.365"/>
        <dgm:constr type="h" for="ch" forName="left_42_1" refType="h" fact="0.185"/>
        <dgm:constr type="b" for="ch" forName="left_42_1" refType="h" fact="0.76"/>
        <dgm:constr type="ctrX" for="ch" forName="left_42_1" refType="w" fact="0.23"/>
        <dgm:constr type="w" for="ch" forName="left_42_2" refType="w" fact="0.365"/>
        <dgm:constr type="h" for="ch" forName="left_42_2" refType="h" fact="0.185"/>
        <dgm:constr type="b" for="ch" forName="left_42_2" refType="h" fact="0.595"/>
        <dgm:constr type="ctrX" for="ch" forName="left_42_2" refType="w" fact="0.22"/>
        <dgm:constr type="w" for="ch" forName="left_42_3" refType="w" fact="0.365"/>
        <dgm:constr type="h" for="ch" forName="left_42_3" refType="h" fact="0.185"/>
        <dgm:constr type="b" for="ch" forName="left_42_3" refType="h" fact="0.43"/>
        <dgm:constr type="ctrX" for="ch" forName="left_42_3" refType="w" fact="0.21"/>
        <dgm:constr type="w" for="ch" forName="left_42_4" refType="w" fact="0.365"/>
        <dgm:constr type="h" for="ch" forName="left_42_4" refType="h" fact="0.185"/>
        <dgm:constr type="b" for="ch" forName="left_42_4" refType="h" fact="0.265"/>
        <dgm:constr type="ctrX" for="ch" forName="left_42_4" refType="w" fact="0.2"/>
        <dgm:constr type="w" for="ch" forName="right_42_1" refType="w" fact="0.365"/>
        <dgm:constr type="h" for="ch" forName="right_42_1" refType="h" fact="0.185"/>
        <dgm:constr type="b" for="ch" forName="right_42_1" refType="h" fact="0.715"/>
        <dgm:constr type="ctrX" for="ch" forName="right_42_1" refType="w" fact="0.75"/>
        <dgm:constr type="w" for="ch" forName="right_42_2" refType="w" fact="0.365"/>
        <dgm:constr type="h" for="ch" forName="right_42_2" refType="h" fact="0.185"/>
        <dgm:constr type="b" for="ch" forName="right_42_2" refType="h" fact="0.55"/>
        <dgm:constr type="ctrX" for="ch" forName="right_42_2" refType="w" fact="0.74"/>
        <dgm:constr type="w" for="ch" forName="right_34_1" refType="w" fact="0.365"/>
        <dgm:constr type="h" for="ch" forName="right_34_1" refType="h" fact="0.185"/>
        <dgm:constr type="b" for="ch" forName="right_34_1" refType="h" fact="0.76"/>
        <dgm:constr type="ctrX" for="ch" forName="right_34_1" refType="w" fact="0.77"/>
        <dgm:constr type="w" for="ch" forName="right_34_2" refType="w" fact="0.365"/>
        <dgm:constr type="h" for="ch" forName="right_34_2" refType="h" fact="0.185"/>
        <dgm:constr type="b" for="ch" forName="right_34_2" refType="h" fact="0.595"/>
        <dgm:constr type="ctrX" for="ch" forName="right_34_2" refType="w" fact="0.78"/>
        <dgm:constr type="w" for="ch" forName="right_34_3" refType="w" fact="0.365"/>
        <dgm:constr type="h" for="ch" forName="right_34_3" refType="h" fact="0.185"/>
        <dgm:constr type="b" for="ch" forName="right_34_3" refType="h" fact="0.43"/>
        <dgm:constr type="ctrX" for="ch" forName="right_34_3" refType="w" fact="0.79"/>
        <dgm:constr type="w" for="ch" forName="right_34_4" refType="w" fact="0.365"/>
        <dgm:constr type="h" for="ch" forName="right_34_4" refType="h" fact="0.185"/>
        <dgm:constr type="b" for="ch" forName="right_34_4" refType="h" fact="0.265"/>
        <dgm:constr type="ctrX" for="ch" forName="right_34_4" refType="w" fact="0.8"/>
        <dgm:constr type="w" for="ch" forName="left_34_1" refType="w" fact="0.365"/>
        <dgm:constr type="h" for="ch" forName="left_34_1" refType="h" fact="0.185"/>
        <dgm:constr type="b" for="ch" forName="left_34_1" refType="h" fact="0.715"/>
        <dgm:constr type="ctrX" for="ch" forName="left_34_1" refType="w" fact="0.25"/>
        <dgm:constr type="w" for="ch" forName="left_34_2" refType="w" fact="0.365"/>
        <dgm:constr type="h" for="ch" forName="left_34_2" refType="h" fact="0.185"/>
        <dgm:constr type="b" for="ch" forName="left_34_2" refType="h" fact="0.55"/>
        <dgm:constr type="ctrX" for="ch" forName="left_34_2" refType="w" fact="0.26"/>
        <dgm:constr type="w" for="ch" forName="left_34_3" refType="w" fact="0.365"/>
        <dgm:constr type="h" for="ch" forName="left_34_3" refType="h" fact="0.185"/>
        <dgm:constr type="b" for="ch" forName="left_34_3" refType="h" fact="0.385"/>
        <dgm:constr type="ctrX" for="ch" forName="left_34_3" refType="w" fact="0.27"/>
        <dgm:constr type="w" for="ch" forName="left_43_1" refType="w" fact="0.365"/>
        <dgm:constr type="h" for="ch" forName="left_43_1" refType="h" fact="0.185"/>
        <dgm:constr type="b" for="ch" forName="left_43_1" refType="h" fact="0.76"/>
        <dgm:constr type="ctrX" for="ch" forName="left_43_1" refType="w" fact="0.23"/>
        <dgm:constr type="w" for="ch" forName="left_43_2" refType="w" fact="0.365"/>
        <dgm:constr type="h" for="ch" forName="left_43_2" refType="h" fact="0.185"/>
        <dgm:constr type="b" for="ch" forName="left_43_2" refType="h" fact="0.595"/>
        <dgm:constr type="ctrX" for="ch" forName="left_43_2" refType="w" fact="0.22"/>
        <dgm:constr type="w" for="ch" forName="left_43_3" refType="w" fact="0.365"/>
        <dgm:constr type="h" for="ch" forName="left_43_3" refType="h" fact="0.185"/>
        <dgm:constr type="b" for="ch" forName="left_43_3" refType="h" fact="0.43"/>
        <dgm:constr type="ctrX" for="ch" forName="left_43_3" refType="w" fact="0.21"/>
        <dgm:constr type="w" for="ch" forName="left_43_4" refType="w" fact="0.365"/>
        <dgm:constr type="h" for="ch" forName="left_43_4" refType="h" fact="0.185"/>
        <dgm:constr type="b" for="ch" forName="left_43_4" refType="h" fact="0.265"/>
        <dgm:constr type="ctrX" for="ch" forName="left_43_4" refType="w" fact="0.2"/>
        <dgm:constr type="w" for="ch" forName="right_43_1" refType="w" fact="0.365"/>
        <dgm:constr type="h" for="ch" forName="right_43_1" refType="h" fact="0.185"/>
        <dgm:constr type="b" for="ch" forName="right_43_1" refType="h" fact="0.715"/>
        <dgm:constr type="ctrX" for="ch" forName="right_43_1" refType="w" fact="0.75"/>
        <dgm:constr type="w" for="ch" forName="right_43_2" refType="w" fact="0.365"/>
        <dgm:constr type="h" for="ch" forName="right_43_2" refType="h" fact="0.185"/>
        <dgm:constr type="b" for="ch" forName="right_43_2" refType="h" fact="0.55"/>
        <dgm:constr type="ctrX" for="ch" forName="right_43_2" refType="w" fact="0.74"/>
        <dgm:constr type="w" for="ch" forName="right_43_3" refType="w" fact="0.365"/>
        <dgm:constr type="h" for="ch" forName="right_43_3" refType="h" fact="0.185"/>
        <dgm:constr type="b" for="ch" forName="right_43_3" refType="h" fact="0.385"/>
        <dgm:constr type="ctrX" for="ch" forName="right_43_3" refType="w" fact="0.73"/>
        <dgm:constr type="w" for="ch" forName="right_44_1" refType="w" fact="0.36"/>
        <dgm:constr type="h" for="ch" forName="right_44_1" refType="h" fact="0.154"/>
        <dgm:constr type="b" for="ch" forName="right_44_1" refType="h" fact="0.725"/>
        <dgm:constr type="ctrX" for="ch" forName="right_44_1" refType="w" fact="0.76"/>
        <dgm:constr type="w" for="ch" forName="right_44_2" refType="w" fact="0.36"/>
        <dgm:constr type="h" for="ch" forName="right_44_2" refType="h" fact="0.154"/>
        <dgm:constr type="b" for="ch" forName="right_44_2" refType="h" fact="0.559"/>
        <dgm:constr type="ctrX" for="ch" forName="right_44_2" refType="w" fact="0.76"/>
        <dgm:constr type="w" for="ch" forName="right_44_3" refType="w" fact="0.36"/>
        <dgm:constr type="h" for="ch" forName="right_44_3" refType="h" fact="0.154"/>
        <dgm:constr type="b" for="ch" forName="right_44_3" refType="h" fact="0.393"/>
        <dgm:constr type="ctrX" for="ch" forName="right_44_3" refType="w" fact="0.76"/>
        <dgm:constr type="w" for="ch" forName="right_44_4" refType="w" fact="0.36"/>
        <dgm:constr type="h" for="ch" forName="right_44_4" refType="h" fact="0.154"/>
        <dgm:constr type="b" for="ch" forName="right_44_4" refType="h" fact="0.224"/>
        <dgm:constr type="ctrX" for="ch" forName="right_44_4" refType="w" fact="0.76"/>
        <dgm:constr type="w" for="ch" forName="left_44_1" refType="w" fact="0.36"/>
        <dgm:constr type="h" for="ch" forName="left_44_1" refType="h" fact="0.154"/>
        <dgm:constr type="b" for="ch" forName="left_44_1" refType="h" fact="0.725"/>
        <dgm:constr type="ctrX" for="ch" forName="left_44_1" refType="w" fact="0.24"/>
        <dgm:constr type="w" for="ch" forName="left_44_2" refType="w" fact="0.36"/>
        <dgm:constr type="h" for="ch" forName="left_44_2" refType="h" fact="0.154"/>
        <dgm:constr type="b" for="ch" forName="left_44_2" refType="h" fact="0.559"/>
        <dgm:constr type="ctrX" for="ch" forName="left_44_2" refType="w" fact="0.24"/>
        <dgm:constr type="w" for="ch" forName="left_44_3" refType="w" fact="0.36"/>
        <dgm:constr type="h" for="ch" forName="left_44_3" refType="h" fact="0.154"/>
        <dgm:constr type="b" for="ch" forName="left_44_3" refType="h" fact="0.393"/>
        <dgm:constr type="ctrX" for="ch" forName="left_44_3" refType="w" fact="0.24"/>
        <dgm:constr type="w" for="ch" forName="left_44_4" refType="w" fact="0.36"/>
        <dgm:constr type="h" for="ch" forName="left_44_4" refType="h" fact="0.154"/>
        <dgm:constr type="b" for="ch" forName="left_44_4" refType="h" fact="0.224"/>
        <dgm:constr type="ctrX" for="ch" forName="left_44_4" refType="w" fact="0.24"/>
      </dgm:constrLst>
      <dgm:ruleLst/>
      <dgm:layoutNode name="dummyMaxCanvas_ChildArea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fulcrum" styleLbl="alignAccFollowNode1">
        <dgm:alg type="sp"/>
        <dgm:shape xmlns:r="http://schemas.openxmlformats.org/officeDocument/2006/relationships" type="triangle" r:blip="">
          <dgm:adjLst/>
        </dgm:shape>
        <dgm:presOf/>
        <dgm:constrLst/>
        <dgm:ruleLst/>
      </dgm:layoutNode>
      <dgm:choose name="Name0">
        <dgm:if name="Name1" axis="ch ch" ptType="node node" st="1 1" cnt="1 0" func="cnt" op="equ" val="0">
          <dgm:choose name="Name2">
            <dgm:if name="Name3" axis="ch ch" ptType="node node" st="2 1" cnt="1 0" func="cnt" op="equ" val="0">
              <dgm:layoutNode name="balance_00" styleLbl="alignAccFollowNode1">
                <dgm:varLst>
                  <dgm:bulletEnabled val="1"/>
                </dgm:varLst>
                <dgm:alg type="sp"/>
                <dgm:shape xmlns:r="http://schemas.openxmlformats.org/officeDocument/2006/relationships" type="rect" r:blip="">
                  <dgm:adjLst/>
                </dgm:shape>
                <dgm:presOf/>
                <dgm:constrLst/>
                <dgm:ruleLst/>
              </dgm:layoutNode>
            </dgm:if>
            <dgm:else name="Name4">
              <dgm:choose name="Name5">
                <dgm:if name="Name6" axis="ch ch" ptType="node node" st="2 1" cnt="1 0" func="cnt" op="equ" val="1">
                  <dgm:layoutNode name="balance_01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4" type="rect" r:blip="">
                      <dgm:adjLst/>
                    </dgm:shape>
                    <dgm:presOf/>
                    <dgm:constrLst/>
                    <dgm:ruleLst/>
                  </dgm:layoutNode>
                  <dgm:layoutNode name="right_01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4" type="roundRect" r:blip="">
                      <dgm:adjLst/>
                    </dgm:shape>
                    <dgm:presOf axis="ch ch desOrSelf" ptType="node node node" st="2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7">
                  <dgm:choose name="Name8">
                    <dgm:if name="Name9" axis="ch ch" ptType="node node" st="2 1" cnt="1 0" func="cnt" op="equ" val="2">
                      <dgm:layoutNode name="balance_02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right_02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02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4" type="roundRect" r:blip="">
                          <dgm:adjLst/>
                        </dgm:shape>
                        <dgm:presOf axis="ch ch desOrSelf" ptType="node node node" st="2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10">
                      <dgm:choose name="Name11">
                        <dgm:if name="Name12" axis="ch ch" ptType="node node" st="2 1" cnt="1 0" func="cnt" op="equ" val="3">
                          <dgm:layoutNode name="balance_03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03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03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13">
                          <dgm:choose name="Name14">
                            <dgm:if name="Name15" axis="ch ch" ptType="node node" st="2 1" cnt="1 0" func="cnt" op="gte" val="4">
                              <dgm:layoutNode name="balance_04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04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04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16"/>
                          </dgm:choose>
                        </dgm:else>
                      </dgm:choose>
                    </dgm:else>
                  </dgm:choose>
                </dgm:else>
              </dgm:choose>
            </dgm:else>
          </dgm:choose>
        </dgm:if>
        <dgm:else name="Name17">
          <dgm:choose name="Name18">
            <dgm:if name="Name19" axis="ch ch" ptType="node node" st="1 1" cnt="1 0" func="cnt" op="equ" val="1">
              <dgm:choose name="Name20">
                <dgm:if name="Name21" axis="ch ch" ptType="node node" st="2 1" cnt="1 0" func="cnt" op="equ" val="0">
                  <dgm:layoutNode name="balance_10" styleLbl="alignAccFollowNode1">
                    <dgm:varLst>
                      <dgm:bulletEnabled val="1"/>
                    </dgm:varLst>
                    <dgm:alg type="sp"/>
                    <dgm:shape xmlns:r="http://schemas.openxmlformats.org/officeDocument/2006/relationships" rot="-4" type="rect" r:blip="">
                      <dgm:adjLst/>
                    </dgm:shape>
                    <dgm:presOf/>
                    <dgm:constrLst/>
                    <dgm:ruleLst/>
                  </dgm:layoutNode>
                  <dgm:layoutNode name="left_10_1" styleLbl="node1">
                    <dgm:varLst>
                      <dgm:bulletEnabled val="1"/>
                    </dgm:varLst>
                    <dgm:alg type="tx"/>
                    <dgm:shape xmlns:r="http://schemas.openxmlformats.org/officeDocument/2006/relationships" rot="-4" type="roundRect" r:blip="">
                      <dgm:adjLst/>
                    </dgm:shape>
                    <dgm:presOf axis="ch ch desOrSelf" ptType="node node node" st="1 1 1" cnt="1 1 0"/>
                    <dgm:constrLst>
                      <dgm:constr type="lMarg" refType="primFontSz" fact="0.3"/>
                      <dgm:constr type="rMarg" refType="primFontSz" fact="0.3"/>
                      <dgm:constr type="tMarg" refType="primFontSz" fact="0.3"/>
                      <dgm:constr type="bMarg" refType="primFontSz" fact="0.3"/>
                    </dgm:constrLst>
                    <dgm:ruleLst>
                      <dgm:rule type="primFontSz" val="5" fact="NaN" max="NaN"/>
                    </dgm:ruleLst>
                  </dgm:layoutNode>
                </dgm:if>
                <dgm:else name="Name22">
                  <dgm:choose name="Name23">
                    <dgm:if name="Name24" axis="ch ch" ptType="node node" st="2 1" cnt="1 0" func="cnt" op="equ" val="1">
                      <dgm:layoutNode name="balance_11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right_11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ch ch desOrSelf" ptType="node node node" st="2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25">
                      <dgm:choose name="Name26">
                        <dgm:if name="Name27" axis="ch ch" ptType="node node" st="2 1" cnt="1 0" func="cnt" op="equ" val="2">
                          <dgm:layoutNode name="balance_12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righ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12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2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12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28">
                          <dgm:choose name="Name29">
                            <dgm:if name="Name30" axis="ch ch" ptType="node node" st="2 1" cnt="1 0" func="cnt" op="equ" val="3">
                              <dgm:layoutNode name="balance_13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13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2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13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31">
                              <dgm:choose name="Name32">
                                <dgm:if name="Name33" axis="ch ch" ptType="node node" st="2 1" cnt="1 0" func="cnt" op="gte" val="4">
                                  <dgm:layoutNode name="balance_14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14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14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34"/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else>
              </dgm:choose>
            </dgm:if>
            <dgm:else name="Name35">
              <dgm:choose name="Name36">
                <dgm:if name="Name37" axis="ch ch" ptType="node node" st="1 1" cnt="1 0" func="cnt" op="equ" val="2">
                  <dgm:choose name="Name38">
                    <dgm:if name="Name39" axis="ch ch" ptType="node node" st="2 1" cnt="1 0" func="cnt" op="equ" val="0">
                      <dgm:layoutNode name="balance_20" styleLbl="alignAccFollowNode1">
                        <dgm:varLst>
                          <dgm:bulletEnabled val="1"/>
                        </dgm:varLst>
                        <dgm:alg type="sp"/>
                        <dgm:shape xmlns:r="http://schemas.openxmlformats.org/officeDocument/2006/relationships" rot="-4" type="rect" r:blip="">
                          <dgm:adjLst/>
                        </dgm:shape>
                        <dgm:presOf/>
                        <dgm:constrLst/>
                        <dgm:ruleLst/>
                      </dgm:layoutNode>
                      <dgm:layoutNode name="left_20_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1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left_20_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rot="-4" type="roundRect" r:blip="">
                          <dgm:adjLst/>
                        </dgm:shape>
                        <dgm:presOf axis="ch ch desOrSelf" ptType="node node node" st="1 2 1" cnt="1 1 0"/>
                        <dgm:constrLst>
                          <dgm:constr type="lMarg" refType="primFontSz" fact="0.3"/>
                          <dgm:constr type="rMarg" refType="primFontSz" fact="0.3"/>
                          <dgm:constr type="tMarg" refType="primFontSz" fact="0.3"/>
                          <dgm:constr type="b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</dgm:if>
                    <dgm:else name="Name40">
                      <dgm:choose name="Name41">
                        <dgm:if name="Name42" axis="ch ch" ptType="node node" st="2 1" cnt="1 0" func="cnt" op="equ" val="1">
                          <dgm:layoutNode name="balance_21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21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right_21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2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43">
                          <dgm:choose name="Name44">
                            <dgm:if name="Name45" axis="ch ch" ptType="node node" st="2 1" cnt="1 0" func="cnt" op="equ" val="2">
                              <dgm:layoutNode name="balance_22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righ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2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22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46">
                              <dgm:choose name="Name47">
                                <dgm:if name="Name48" axis="ch ch" ptType="node node" st="2 1" cnt="1 0" func="cnt" op="equ" val="3">
                                  <dgm:layoutNode name="balance_23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righ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23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2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23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49">
                                  <dgm:choose name="Name50">
                                    <dgm:if name="Name51" axis="ch ch" ptType="node node" st="2 1" cnt="1 0" func="cnt" op="gte" val="4">
                                      <dgm:layoutNode name="balance_24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24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2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24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52"/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else>
                  </dgm:choose>
                </dgm:if>
                <dgm:else name="Name53">
                  <dgm:choose name="Name54">
                    <dgm:if name="Name55" axis="ch ch" ptType="node node" st="1 1" cnt="1 0" func="cnt" op="equ" val="3">
                      <dgm:choose name="Name56">
                        <dgm:if name="Name57" axis="ch ch" ptType="node node" st="2 1" cnt="1 0" func="cnt" op="equ" val="0">
                          <dgm:layoutNode name="balance_30" styleLbl="alignAccFollowNode1">
                            <dgm:varLst>
                              <dgm:bulletEnabled val="1"/>
                            </dgm:varLst>
                            <dgm:alg type="sp"/>
                            <dgm:shape xmlns:r="http://schemas.openxmlformats.org/officeDocument/2006/relationships" rot="-4" type="rect" r:blip="">
                              <dgm:adjLst/>
                            </dgm:shape>
                            <dgm:presOf/>
                            <dgm:constrLst/>
                            <dgm:ruleLst/>
                          </dgm:layoutNode>
                          <dgm:layoutNode name="left_30_1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1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2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2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layoutNode name="left_30_3" styleLbl="node1">
                            <dgm:varLst>
                              <dgm:bulletEnabled val="1"/>
                            </dgm:varLst>
                            <dgm:alg type="tx"/>
                            <dgm:shape xmlns:r="http://schemas.openxmlformats.org/officeDocument/2006/relationships" rot="-4" type="roundRect" r:blip="">
                              <dgm:adjLst/>
                            </dgm:shape>
                            <dgm:presOf axis="ch ch desOrSelf" ptType="node node node" st="1 3 1" cnt="1 1 0"/>
                            <dgm:constrLst>
                              <dgm:constr type="lMarg" refType="primFontSz" fact="0.3"/>
                              <dgm:constr type="rMarg" refType="primFontSz" fact="0.3"/>
                              <dgm:constr type="tMarg" refType="primFontSz" fact="0.3"/>
                              <dgm:constr type="b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if>
                        <dgm:else name="Name58">
                          <dgm:choose name="Name59">
                            <dgm:if name="Name60" axis="ch ch" ptType="node node" st="2 1" cnt="1 0" func="cnt" op="equ" val="1">
                              <dgm:layoutNode name="balance_31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31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right_31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2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61">
                              <dgm:choose name="Name62">
                                <dgm:if name="Name63" axis="ch ch" ptType="node node" st="2 1" cnt="1 0" func="cnt" op="equ" val="2">
                                  <dgm:layoutNode name="balance_32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32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32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64">
                                  <dgm:choose name="Name65">
                                    <dgm:if name="Name66" axis="ch ch" ptType="node node" st="2 1" cnt="1 0" func="cnt" op="equ" val="3">
                                      <dgm:layoutNode name="balance_33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righ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2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33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67">
                                      <dgm:choose name="Name68">
                                        <dgm:if name="Name69" axis="ch ch" ptType="node node" st="2 1" cnt="1 0" func="cnt" op="gte" val="4">
                                          <dgm:layoutNode name="balance_34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righ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34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2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34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70"/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71">
                      <dgm:choose name="Name72">
                        <dgm:if name="Name73" axis="ch ch" ptType="node node" st="1 1" cnt="1 0" func="cnt" op="gte" val="4">
                          <dgm:choose name="Name74">
                            <dgm:if name="Name75" axis="ch ch" ptType="node node" st="2 1" cnt="1 0" func="cnt" op="equ" val="0">
                              <dgm:layoutNode name="balance_40" styleLbl="alignAccFollowNode1">
                                <dgm:varLst>
                                  <dgm:bulletEnabled val="1"/>
                                </dgm:varLst>
                                <dgm:alg type="sp"/>
                                <dgm:shape xmlns:r="http://schemas.openxmlformats.org/officeDocument/2006/relationships" rot="-4" type="rect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  <dgm:layoutNode name="left_40_1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1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2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2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3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3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  <dgm:layoutNode name="left_40_4" styleLbl="node1">
                                <dgm:varLst>
                                  <dgm:bulletEnabled val="1"/>
                                </dgm:varLst>
                                <dgm:alg type="tx"/>
                                <dgm:shape xmlns:r="http://schemas.openxmlformats.org/officeDocument/2006/relationships" rot="-4" type="roundRect" r:blip="">
                                  <dgm:adjLst/>
                                </dgm:shape>
                                <dgm:presOf axis="ch ch desOrSelf" ptType="node node node" st="1 4 1" cnt="1 1 0"/>
                                <dgm:constrLst>
                                  <dgm:constr type="lMarg" refType="primFontSz" fact="0.3"/>
                                  <dgm:constr type="rMarg" refType="primFontSz" fact="0.3"/>
                                  <dgm:constr type="tMarg" refType="primFontSz" fact="0.3"/>
                                  <dgm:constr type="bMarg" refType="primFontSz" fact="0.3"/>
                                </dgm:constrLst>
                                <dgm:ruleLst>
                                  <dgm:rule type="primFontSz" val="5" fact="NaN" max="NaN"/>
                                </dgm:ruleLst>
                              </dgm:layoutNode>
                            </dgm:if>
                            <dgm:else name="Name76">
                              <dgm:choose name="Name77">
                                <dgm:if name="Name78" axis="ch ch" ptType="node node" st="2 1" cnt="1 0" func="cnt" op="equ" val="1">
                                  <dgm:layoutNode name="balance_41" styleLbl="alignAccFollowNode1">
                                    <dgm:varLst>
                                      <dgm:bulletEnabled val="1"/>
                                    </dgm:varLst>
                                    <dgm:alg type="sp"/>
                                    <dgm:shape xmlns:r="http://schemas.openxmlformats.org/officeDocument/2006/relationships" rot="-4" type="rect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</dgm:layoutNode>
                                  <dgm:layoutNode name="lef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2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2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3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3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left_41_4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1 4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  <dgm:layoutNode name="right_41_1" styleLbl="node1">
                                    <dgm:varLst>
                                      <dgm:bulletEnabled val="1"/>
                                    </dgm:varLst>
                                    <dgm:alg type="tx"/>
                                    <dgm:shape xmlns:r="http://schemas.openxmlformats.org/officeDocument/2006/relationships" rot="-4" type="roundRect" r:blip="">
                                      <dgm:adjLst/>
                                    </dgm:shape>
                                    <dgm:presOf axis="ch ch desOrSelf" ptType="node node node" st="2 1 1" cnt="1 1 0"/>
                                    <dgm:constrLst>
                                      <dgm:constr type="lMarg" refType="primFontSz" fact="0.3"/>
                                      <dgm:constr type="rMarg" refType="primFontSz" fact="0.3"/>
                                      <dgm:constr type="tMarg" refType="primFontSz" fact="0.3"/>
                                      <dgm:constr type="bMarg" refType="primFontSz" fact="0.3"/>
                                    </dgm:constrLst>
                                    <dgm:ruleLst>
                                      <dgm:rule type="primFontSz" val="5" fact="NaN" max="NaN"/>
                                    </dgm:ruleLst>
                                  </dgm:layoutNode>
                                </dgm:if>
                                <dgm:else name="Name79">
                                  <dgm:choose name="Name80">
                                    <dgm:if name="Name81" axis="ch ch" ptType="node node" st="2 1" cnt="1 0" func="cnt" op="equ" val="2">
                                      <dgm:layoutNode name="balance_42" styleLbl="alignAccFollowNode1">
                                        <dgm:varLst>
                                          <dgm:bulletEnabled val="1"/>
                                        </dgm:varLst>
                                        <dgm:alg type="sp"/>
                                        <dgm:shape xmlns:r="http://schemas.openxmlformats.org/officeDocument/2006/relationships" rot="-4" type="rect" r:blip="">
                                          <dgm:adjLst/>
                                        </dgm:shape>
                                        <dgm:presOf/>
                                        <dgm:constrLst/>
                                        <dgm:ruleLst/>
                                      </dgm:layoutNode>
                                      <dgm:layoutNode name="lef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3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3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left_42_4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1 4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1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1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  <dgm:layoutNode name="right_42_2" styleLbl="node1">
                                        <dgm:varLst>
                                          <dgm:bulletEnabled val="1"/>
                                        </dgm:varLst>
                                        <dgm:alg type="tx"/>
                                        <dgm:shape xmlns:r="http://schemas.openxmlformats.org/officeDocument/2006/relationships" rot="-4" type="roundRect" r:blip="">
                                          <dgm:adjLst/>
                                        </dgm:shape>
                                        <dgm:presOf axis="ch ch desOrSelf" ptType="node node node" st="2 2 1" cnt="1 1 0"/>
                                        <dgm:constrLst>
                                          <dgm:constr type="lMarg" refType="primFontSz" fact="0.3"/>
                                          <dgm:constr type="rMarg" refType="primFontSz" fact="0.3"/>
                                          <dgm:constr type="tMarg" refType="primFontSz" fact="0.3"/>
                                          <dgm:constr type="bMarg" refType="primFontSz" fact="0.3"/>
                                        </dgm:constrLst>
                                        <dgm:ruleLst>
                                          <dgm:rule type="primFontSz" val="5" fact="NaN" max="NaN"/>
                                        </dgm:ruleLst>
                                      </dgm:layoutNode>
                                    </dgm:if>
                                    <dgm:else name="Name82">
                                      <dgm:choose name="Name83">
                                        <dgm:if name="Name84" axis="ch ch" ptType="node node" st="2 1" cnt="1 0" func="cnt" op="equ" val="3">
                                          <dgm:layoutNode name="balance_43" styleLbl="alignAccFollowNode1">
                                            <dgm:varLst>
                                              <dgm:bulletEnabled val="1"/>
                                            </dgm:varLst>
                                            <dgm:alg type="sp"/>
                                            <dgm:shape xmlns:r="http://schemas.openxmlformats.org/officeDocument/2006/relationships" rot="-4" type="rect" r:blip="">
                                              <dgm:adjLst/>
                                            </dgm:shape>
                                            <dgm:presOf/>
                                            <dgm:constrLst/>
                                            <dgm:ruleLst/>
                                          </dgm:layoutNode>
                                          <dgm:layoutNode name="lef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left_43_4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1 4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1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1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2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2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  <dgm:layoutNode name="right_43_3" styleLbl="node1">
                                            <dgm:varLst>
                                              <dgm:bulletEnabled val="1"/>
                                            </dgm:varLst>
                                            <dgm:alg type="tx"/>
                                            <dgm:shape xmlns:r="http://schemas.openxmlformats.org/officeDocument/2006/relationships" rot="-4" type="roundRect" r:blip="">
                                              <dgm:adjLst/>
                                            </dgm:shape>
                                            <dgm:presOf axis="ch ch desOrSelf" ptType="node node node" st="2 3 1" cnt="1 1 0"/>
                                            <dgm:constrLst>
                                              <dgm:constr type="lMarg" refType="primFontSz" fact="0.3"/>
                                              <dgm:constr type="rMarg" refType="primFontSz" fact="0.3"/>
                                              <dgm:constr type="tMarg" refType="primFontSz" fact="0.3"/>
                                              <dgm:constr type="bMarg" refType="primFontSz" fact="0.3"/>
                                            </dgm:constrLst>
                                            <dgm:ruleLst>
                                              <dgm:rule type="primFontSz" val="5" fact="NaN" max="NaN"/>
                                            </dgm:ruleLst>
                                          </dgm:layoutNode>
                                        </dgm:if>
                                        <dgm:else name="Name85">
                                          <dgm:choose name="Name86">
                                            <dgm:if name="Name87" axis="ch ch" ptType="node node" st="2 1" cnt="1 0" func="cnt" op="gte" val="4">
                                              <dgm:layoutNode name="balance_44" styleLbl="alignAccFollowNode1">
                                                <dgm:varLst>
                                                  <dgm:bulletEnabled val="1"/>
                                                </dgm:varLst>
                                                <dgm:alg type="sp"/>
                                                <dgm:shape xmlns:r="http://schemas.openxmlformats.org/officeDocument/2006/relationships" type="rect" r:blip="">
                                                  <dgm:adjLst/>
                                                </dgm:shape>
                                                <dgm:presOf/>
                                                <dgm:constrLst/>
                                                <dgm:ruleLst/>
                                              </dgm:layoutNode>
                                              <dgm:layoutNode name="righ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righ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2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1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1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2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2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3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3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  <dgm:layoutNode name="left_44_4" styleLbl="node1">
                                                <dgm:varLst>
                                                  <dgm:bulletEnabled val="1"/>
                                                </dgm:varLst>
                                                <dgm:alg type="tx"/>
                                                <dgm:shape xmlns:r="http://schemas.openxmlformats.org/officeDocument/2006/relationships" type="roundRect" r:blip="">
                                                  <dgm:adjLst/>
                                                </dgm:shape>
                                                <dgm:presOf axis="ch ch desOrSelf" ptType="node node node" st="1 4 1" cnt="1 1 0"/>
                                                <dgm:constrLst>
                                                  <dgm:constr type="lMarg" refType="primFontSz" fact="0.3"/>
                                                  <dgm:constr type="rMarg" refType="primFontSz" fact="0.3"/>
                                                  <dgm:constr type="tMarg" refType="primFontSz" fact="0.3"/>
                                                  <dgm:constr type="bMarg" refType="primFontSz" fact="0.3"/>
                                                </dgm:constrLst>
                                                <dgm:ruleLst>
                                                  <dgm:rule type="primFontSz" val="5" fact="NaN" max="NaN"/>
                                                </dgm:ruleLst>
                                              </dgm:layoutNode>
                                            </dgm:if>
                                            <dgm:else name="Name88"/>
                                          </dgm:choose>
                                        </dgm:else>
                                      </dgm:choose>
                                    </dgm:else>
                                  </dgm:choose>
                                </dgm:else>
                              </dgm:choose>
                            </dgm:else>
                          </dgm:choose>
                        </dgm:if>
                        <dgm:else name="Name89"/>
                      </dgm:choose>
                    </dgm:else>
                  </dgm:choose>
                </dgm:else>
              </dgm:choose>
            </dgm:else>
          </dgm:choose>
        </dgm:else>
      </dgm:choose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5">
  <dgm:title val=""/>
  <dgm:desc val=""/>
  <dgm:catLst>
    <dgm:cat type="3D" pri="11500"/>
  </dgm:catLst>
  <dgm:scene3d>
    <a:camera prst="isometricOffAxis2Left" zoom="95000"/>
    <a:lightRig rig="flat" dir="t"/>
  </dgm:scene3d>
  <dgm:styleLbl name="node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715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81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52400" extrusionH="1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38100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52400"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z="-600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3810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400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57150"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2700" prstMaterial="flat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6350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7150" extrusionH="63500" contourW="12700" prstMaterial="matte">
      <a:contourClr>
        <a:schemeClr val="dk1">
          <a:tint val="2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4005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7150" extrusionH="635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40050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381000" contourW="381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4005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7150" extrusionH="63500" contourW="12700" prstMaterial="matte">
      <a:contourClr>
        <a:schemeClr val="lt1">
          <a:tint val="50000"/>
        </a:schemeClr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738</cdr:x>
      <cdr:y>0.18452</cdr:y>
    </cdr:from>
    <cdr:to>
      <cdr:x>0.21527</cdr:x>
      <cdr:y>0.22686</cdr:y>
    </cdr:to>
    <cdr:sp macro="" textlink="">
      <cdr:nvSpPr>
        <cdr:cNvPr id="12" name="TextBox 11"/>
        <cdr:cNvSpPr txBox="1">
          <a:spLocks xmlns:a="http://schemas.openxmlformats.org/drawingml/2006/main" noChangeArrowheads="1"/>
        </cdr:cNvSpPr>
      </cdr:nvSpPr>
      <cdr:spPr>
        <a:xfrm xmlns:a="http://schemas.openxmlformats.org/drawingml/2006/main">
          <a:off x="699570" y="1265451"/>
          <a:ext cx="1925053" cy="290326"/>
        </a:xfrm>
        <a:prstGeom xmlns:a="http://schemas.openxmlformats.org/drawingml/2006/main" prst="rect">
          <a:avLst/>
        </a:prstGeom>
        <a:solidFill xmlns:a="http://schemas.openxmlformats.org/drawingml/2006/main">
          <a:srgbClr val="03AD07"/>
        </a:solidFill>
        <a:ln xmlns:a="http://schemas.openxmlformats.org/drawingml/2006/main" w="38100"/>
      </cdr:spPr>
      <cdr:txBody>
        <a:bodyPr xmlns:a="http://schemas.openxmlformats.org/drawingml/2006/main" vert="horz" anchor="ctr">
          <a:normAutofit fontScale="77500" lnSpcReduction="20000"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>
            <a:defRPr/>
          </a:pPr>
          <a:r>
            <a:rPr lang="en-US" sz="2000" b="1" kern="0" smtClean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rPr>
            <a:t>Advanced</a:t>
          </a:r>
          <a:endParaRPr lang="en-MY" sz="3600" b="1" kern="0" dirty="0">
            <a:effectLst>
              <a:outerShdw blurRad="38100" dist="38100" dir="2700000" algn="tl">
                <a:srgbClr val="FFFFFF"/>
              </a:outerShdw>
            </a:effectLst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17A299-ACFD-48B7-BD7E-109C7DE17E17}" type="datetimeFigureOut">
              <a:rPr lang="en-US" smtClean="0"/>
              <a:t>2/16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1C232C-78F3-40B1-9F1D-2502E924BF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86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6979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smtClean="0"/>
              <a:t>Purata skor matematik murid Malaysia mencatatkan penurunan yang hampir selari dengan penurunan pada peringkat antarabangsa.</a:t>
            </a:r>
          </a:p>
        </p:txBody>
      </p:sp>
      <p:sp>
        <p:nvSpPr>
          <p:cNvPr id="126980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27825" y="9228138"/>
            <a:ext cx="85725" cy="184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FC65D140-6B40-404D-99C5-8D5735B3AB70}" type="slidenum">
              <a:rPr lang="en-MY" altLang="en-US" sz="1200"/>
              <a:pPr eaLnBrk="1" hangingPunct="1"/>
              <a:t>27</a:t>
            </a:fld>
            <a:endParaRPr lang="en-MY" altLang="en-US" sz="1200"/>
          </a:p>
        </p:txBody>
      </p:sp>
    </p:spTree>
    <p:extLst>
      <p:ext uri="{BB962C8B-B14F-4D97-AF65-F5344CB8AC3E}">
        <p14:creationId xmlns:p14="http://schemas.microsoft.com/office/powerpoint/2010/main" val="2629409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800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smtClean="0"/>
              <a:t>Matematik</a:t>
            </a:r>
          </a:p>
          <a:p>
            <a:r>
              <a:rPr lang="en-US" altLang="en-US" smtClean="0"/>
              <a:t>Peratus murid mencapai tahap tertinggi menunjukkan kemorosotan berterusan dari tahun 2003, hinggalah ke kajian TIMSS 2007 dan kekal pada 2% pada TIMSS 2011. Pencapaian pada tahap tinggi, sederhana dan rendah berbanding TIMSS 1999 menunjukkan kemorosotan peratus murid yang significant berterusan dari tahun 2003 sehinggalah pada kajian 2011. </a:t>
            </a:r>
          </a:p>
          <a:p>
            <a:endParaRPr lang="en-MY" altLang="en-US" smtClean="0"/>
          </a:p>
        </p:txBody>
      </p:sp>
      <p:sp>
        <p:nvSpPr>
          <p:cNvPr id="12800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27825" y="9228138"/>
            <a:ext cx="85725" cy="184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B46DB14-5B5F-42C7-8802-BEAC3791A585}" type="slidenum">
              <a:rPr kumimoji="0" lang="en-GB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altLang="en-US" sz="12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1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0051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GB" altLang="en-US" smtClean="0"/>
              <a:t>Kedudukan Malaysia dalam Literasi Bacaan adalah yang ke 55 daripada 74 negara/wilayah.</a:t>
            </a:r>
          </a:p>
        </p:txBody>
      </p:sp>
      <p:sp>
        <p:nvSpPr>
          <p:cNvPr id="130052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727825" y="9228138"/>
            <a:ext cx="85725" cy="1841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A94B1C2F-46BE-4BA7-A5F1-D51DD7B1C3A1}" type="slidenum">
              <a:rPr lang="en-MY" altLang="en-US" sz="1200"/>
              <a:pPr eaLnBrk="1" hangingPunct="1"/>
              <a:t>29</a:t>
            </a:fld>
            <a:endParaRPr lang="en-MY" altLang="en-US" sz="1200"/>
          </a:p>
        </p:txBody>
      </p:sp>
    </p:spTree>
    <p:extLst>
      <p:ext uri="{BB962C8B-B14F-4D97-AF65-F5344CB8AC3E}">
        <p14:creationId xmlns:p14="http://schemas.microsoft.com/office/powerpoint/2010/main" val="2876576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 useBgFill="1">
        <p:nvSpPr>
          <p:cNvPr id="12" name="Freeform 11"/>
          <p:cNvSpPr/>
          <p:nvPr/>
        </p:nvSpPr>
        <p:spPr>
          <a:xfrm>
            <a:off x="-15875" y="0"/>
            <a:ext cx="11683810" cy="6588125"/>
          </a:xfrm>
          <a:custGeom>
            <a:avLst/>
            <a:gdLst/>
            <a:ahLst/>
            <a:cxnLst/>
            <a:rect l="l" t="t" r="r" b="b"/>
            <a:pathLst>
              <a:path w="11683810" h="6588125">
                <a:moveTo>
                  <a:pt x="0" y="0"/>
                </a:moveTo>
                <a:lnTo>
                  <a:pt x="11318691" y="0"/>
                </a:lnTo>
                <a:lnTo>
                  <a:pt x="11683810" y="5976938"/>
                </a:lnTo>
                <a:lnTo>
                  <a:pt x="15875" y="6588125"/>
                </a:lnTo>
                <a:cubicBezTo>
                  <a:pt x="10583" y="4386792"/>
                  <a:pt x="5292" y="2185458"/>
                  <a:pt x="0" y="0"/>
                </a:cubicBezTo>
                <a:close/>
              </a:path>
            </a:pathLst>
          </a:custGeom>
          <a:ln>
            <a:noFill/>
          </a:ln>
          <a:effectLst>
            <a:outerShdw blurRad="101600" dist="152400" dir="4380000" algn="tl" rotWithShape="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4" name="Freeform 13"/>
          <p:cNvSpPr/>
          <p:nvPr/>
        </p:nvSpPr>
        <p:spPr>
          <a:xfrm>
            <a:off x="0" y="4282257"/>
            <a:ext cx="11329257" cy="2028845"/>
          </a:xfrm>
          <a:custGeom>
            <a:avLst/>
            <a:gdLst/>
            <a:ahLst/>
            <a:cxnLst/>
            <a:rect l="l" t="t" r="r" b="b"/>
            <a:pathLst>
              <a:path w="11329257" h="2028845">
                <a:moveTo>
                  <a:pt x="0" y="588520"/>
                </a:moveTo>
                <a:lnTo>
                  <a:pt x="11244075" y="0"/>
                </a:lnTo>
                <a:lnTo>
                  <a:pt x="11329257" y="1424838"/>
                </a:lnTo>
                <a:lnTo>
                  <a:pt x="0" y="2028845"/>
                </a:lnTo>
                <a:lnTo>
                  <a:pt x="0" y="58852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6" name="Freeform 25"/>
          <p:cNvSpPr/>
          <p:nvPr/>
        </p:nvSpPr>
        <p:spPr>
          <a:xfrm>
            <a:off x="0" y="0"/>
            <a:ext cx="8719579" cy="456877"/>
          </a:xfrm>
          <a:custGeom>
            <a:avLst/>
            <a:gdLst/>
            <a:ahLst/>
            <a:cxnLst/>
            <a:rect l="l" t="t" r="r" b="b"/>
            <a:pathLst>
              <a:path w="8719579" h="456877">
                <a:moveTo>
                  <a:pt x="0" y="0"/>
                </a:moveTo>
                <a:lnTo>
                  <a:pt x="8719579" y="0"/>
                </a:lnTo>
                <a:lnTo>
                  <a:pt x="0" y="45687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4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5" name="Freeform 14"/>
          <p:cNvSpPr/>
          <p:nvPr/>
        </p:nvSpPr>
        <p:spPr>
          <a:xfrm rot="21420000">
            <a:off x="-161800" y="293317"/>
            <a:ext cx="11367116" cy="5751804"/>
          </a:xfrm>
          <a:custGeom>
            <a:avLst/>
            <a:gdLst/>
            <a:ahLst/>
            <a:cxnLst/>
            <a:rect l="l" t="t" r="r" b="b"/>
            <a:pathLst>
              <a:path w="11367116" h="5751804">
                <a:moveTo>
                  <a:pt x="11346705" y="0"/>
                </a:moveTo>
                <a:cubicBezTo>
                  <a:pt x="11353509" y="1915114"/>
                  <a:pt x="11360312" y="3830229"/>
                  <a:pt x="11367116" y="5745343"/>
                </a:cubicBezTo>
                <a:lnTo>
                  <a:pt x="0" y="5751804"/>
                </a:lnTo>
              </a:path>
            </a:pathLst>
          </a:custGeom>
          <a:ln w="8255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21420000">
            <a:off x="891201" y="662656"/>
            <a:ext cx="9755187" cy="2766528"/>
          </a:xfrm>
        </p:spPr>
        <p:txBody>
          <a:bodyPr anchor="b">
            <a:normAutofit/>
          </a:bodyPr>
          <a:lstStyle>
            <a:lvl1pPr algn="r">
              <a:defRPr sz="8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1420000">
            <a:off x="983062" y="3505209"/>
            <a:ext cx="9755187" cy="550333"/>
          </a:xfrm>
        </p:spPr>
        <p:txBody>
          <a:bodyPr anchor="t">
            <a:noAutofit/>
          </a:bodyPr>
          <a:lstStyle>
            <a:lvl1pPr marL="0" indent="0" algn="r">
              <a:buNone/>
              <a:defRPr sz="28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 rot="21420000">
            <a:off x="4948541" y="4578463"/>
            <a:ext cx="6143653" cy="1163112"/>
          </a:xfrm>
        </p:spPr>
        <p:txBody>
          <a:bodyPr/>
          <a:lstStyle>
            <a:lvl1pPr algn="ctr">
              <a:defRPr sz="54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F7AFFB9B-9FB8-469E-96F9-4D32314110B6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 rot="21420000">
            <a:off x="-5560" y="4883024"/>
            <a:ext cx="4047239" cy="1195538"/>
          </a:xfrm>
        </p:spPr>
        <p:txBody>
          <a:bodyPr vert="horz" lIns="91440" tIns="45720" rIns="91440" bIns="45720" rtlCol="0" anchor="ctr"/>
          <a:lstStyle>
            <a:lvl1pPr algn="r">
              <a:defRPr lang="en-US" sz="5400" dirty="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21420000">
            <a:off x="9851758" y="3832648"/>
            <a:ext cx="907186" cy="498470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5" name="5-Point Star 24"/>
          <p:cNvSpPr/>
          <p:nvPr/>
        </p:nvSpPr>
        <p:spPr>
          <a:xfrm rot="21420000">
            <a:off x="4221385" y="5111356"/>
            <a:ext cx="515386" cy="515386"/>
          </a:xfrm>
          <a:prstGeom prst="star5">
            <a:avLst>
              <a:gd name="adj" fmla="val 26693"/>
              <a:gd name="hf" fmla="val 105146"/>
              <a:gd name="vf" fmla="val 110557"/>
            </a:avLst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106333"/>
            <a:ext cx="10394708" cy="588846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5801" y="685799"/>
            <a:ext cx="10392513" cy="319490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80" y="4702923"/>
            <a:ext cx="10394728" cy="682472"/>
          </a:xfrm>
        </p:spPr>
        <p:txBody>
          <a:bodyPr anchor="t"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2AC3-6A0B-4169-B1EA-E3AE8B351BDD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902" cy="3194903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779" y="4106333"/>
            <a:ext cx="10394729" cy="1273606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4B9363-8B87-41B7-9F8E-64519CBB8F34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1732" y="685800"/>
            <a:ext cx="9525020" cy="2916704"/>
          </a:xfrm>
        </p:spPr>
        <p:txBody>
          <a:bodyPr anchor="ctr">
            <a:normAutofit/>
          </a:bodyPr>
          <a:lstStyle>
            <a:lvl1pPr algn="ctr"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550264" y="3610032"/>
            <a:ext cx="8667956" cy="377768"/>
          </a:xfrm>
        </p:spPr>
        <p:txBody>
          <a:bodyPr anchor="t">
            <a:normAutofit/>
          </a:bodyPr>
          <a:lstStyle>
            <a:lvl1pPr marL="0" indent="0" algn="r">
              <a:buNone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4106334"/>
            <a:ext cx="10396882" cy="126825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EF5746-5284-4951-9F37-7AE924EDBCB7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685801" y="89262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473083" y="292282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723854"/>
            <a:ext cx="10394707" cy="2511835"/>
          </a:xfrm>
        </p:spPr>
        <p:txBody>
          <a:bodyPr anchor="b">
            <a:normAutofit/>
          </a:bodyPr>
          <a:lstStyle>
            <a:lvl1pPr algn="l"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0" y="4247468"/>
            <a:ext cx="10394707" cy="114064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98B29-7265-4A65-A2A4-6703C057B7C1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85802" y="685800"/>
            <a:ext cx="10394706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8580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685802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4622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234621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70380" y="206339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4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770380" y="2639658"/>
            <a:ext cx="3310128" cy="273492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BA082-94DF-4C4B-A041-6624924AB0A8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69184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85780" y="2063395"/>
            <a:ext cx="3310128" cy="1536725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691840" y="4389287"/>
            <a:ext cx="3310128" cy="98529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237410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235999" y="2063395"/>
            <a:ext cx="3310128" cy="1535237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235999" y="4389286"/>
            <a:ext cx="3310128" cy="985300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768944" y="3813025"/>
            <a:ext cx="33101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90000"/>
              </a:lnSpc>
              <a:buNone/>
              <a:defRPr sz="22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768819" y="2063394"/>
            <a:ext cx="3310128" cy="1537196"/>
          </a:xfrm>
          <a:prstGeom prst="roundRect">
            <a:avLst>
              <a:gd name="adj" fmla="val 0"/>
            </a:avLst>
          </a:prstGeo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768819" y="4389284"/>
            <a:ext cx="3310128" cy="985302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7686C4-3AB5-4E0C-86CA-FB108C350AA9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2063396"/>
            <a:ext cx="10394707" cy="3311190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F1211-4E0C-4AB3-B04F-585959BDAFE8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15862" y="685800"/>
            <a:ext cx="2264646" cy="4688785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685800" y="685800"/>
            <a:ext cx="7904431" cy="4688785"/>
          </a:xfrm>
        </p:spPr>
        <p:txBody>
          <a:bodyPr vert="eaVert"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BDECAF-D3BE-4069-9C78-642ECCD01477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23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233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4"/>
          <p:cNvSpPr>
            <a:spLocks noChangeShapeType="1"/>
          </p:cNvSpPr>
          <p:nvPr/>
        </p:nvSpPr>
        <p:spPr bwMode="gray">
          <a:xfrm>
            <a:off x="3289357" y="2105669"/>
            <a:ext cx="0" cy="2641804"/>
          </a:xfrm>
          <a:prstGeom prst="line">
            <a:avLst/>
          </a:prstGeom>
          <a:noFill/>
          <a:ln w="57150" cap="rnd">
            <a:solidFill>
              <a:schemeClr val="accent2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6" name="McK Title Elements"/>
          <p:cNvGrpSpPr>
            <a:grpSpLocks/>
          </p:cNvGrpSpPr>
          <p:nvPr/>
        </p:nvGrpSpPr>
        <p:grpSpPr bwMode="auto">
          <a:xfrm>
            <a:off x="3591728" y="4251831"/>
            <a:ext cx="6714778" cy="500501"/>
            <a:chOff x="1663" y="2625"/>
            <a:chExt cx="3109" cy="309"/>
          </a:xfrm>
        </p:grpSpPr>
        <p:sp>
          <p:nvSpPr>
            <p:cNvPr id="7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262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28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SimSun" pitchFamily="2" charset="-122"/>
                  <a:cs typeface="Arial" pitchFamily="34" charset="0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2796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428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SimSun" pitchFamily="2" charset="-122"/>
                  <a:cs typeface="Arial" pitchFamily="34" charset="0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91727" y="1979328"/>
            <a:ext cx="8019290" cy="466487"/>
          </a:xfrm>
        </p:spPr>
        <p:txBody>
          <a:bodyPr/>
          <a:lstStyle>
            <a:lvl1pPr>
              <a:defRPr sz="3061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91727" y="3242730"/>
            <a:ext cx="8019290" cy="2197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285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605BC769-D399-44C0-8F16-292154665DED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5997316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10394707" cy="331118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BDC27-E420-4878-9EE6-7B9656D6442A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59" cy="627992"/>
          </a:xfrm>
        </p:spPr>
        <p:txBody>
          <a:bodyPr/>
          <a:lstStyle>
            <a:lvl1pPr algn="l">
              <a:defRPr sz="4081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59" cy="1499884"/>
          </a:xfrm>
        </p:spPr>
        <p:txBody>
          <a:bodyPr anchor="b"/>
          <a:lstStyle>
            <a:lvl1pPr marL="0" indent="0">
              <a:buNone/>
              <a:defRPr sz="2041"/>
            </a:lvl1pPr>
            <a:lvl2pPr marL="466481" indent="0">
              <a:buNone/>
              <a:defRPr sz="1837"/>
            </a:lvl2pPr>
            <a:lvl3pPr marL="932962" indent="0">
              <a:buNone/>
              <a:defRPr sz="1632"/>
            </a:lvl3pPr>
            <a:lvl4pPr marL="1399443" indent="0">
              <a:buNone/>
              <a:defRPr sz="1428"/>
            </a:lvl4pPr>
            <a:lvl5pPr marL="1865925" indent="0">
              <a:buNone/>
              <a:defRPr sz="1428"/>
            </a:lvl5pPr>
            <a:lvl6pPr marL="2332406" indent="0">
              <a:buNone/>
              <a:defRPr sz="1428"/>
            </a:lvl6pPr>
            <a:lvl7pPr marL="2798887" indent="0">
              <a:buNone/>
              <a:defRPr sz="1428"/>
            </a:lvl7pPr>
            <a:lvl8pPr marL="3265368" indent="0">
              <a:buNone/>
              <a:defRPr sz="1428"/>
            </a:lvl8pPr>
            <a:lvl9pPr marL="3731849" indent="0">
              <a:buNone/>
              <a:defRPr sz="142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1C6850AB-C6FD-4890-A616-37FC4DE5EE82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9428698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06387" y="1990667"/>
            <a:ext cx="2822843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A05622E6-9EBF-4CDD-B819-915971E82F46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458573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8415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060" y="1535519"/>
            <a:ext cx="538651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060" y="2175318"/>
            <a:ext cx="538651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7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7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39A57CF-F1C4-456C-85DD-8A234E2EF081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2503367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900268E3-1B9F-4D60-A87D-057EFBE681D5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8614484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76C6095-C374-4172-BE0E-B0A62028E90C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113569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060" y="1121035"/>
            <a:ext cx="4010726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651" y="273738"/>
            <a:ext cx="6816289" cy="5852138"/>
          </a:xfrm>
        </p:spPr>
        <p:txBody>
          <a:bodyPr/>
          <a:lstStyle>
            <a:lvl1pPr>
              <a:defRPr sz="3265"/>
            </a:lvl1pPr>
            <a:lvl2pPr>
              <a:defRPr sz="2857"/>
            </a:lvl2pPr>
            <a:lvl3pPr>
              <a:defRPr sz="2449"/>
            </a:lvl3pPr>
            <a:lvl4pPr>
              <a:defRPr sz="2041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060" y="1435094"/>
            <a:ext cx="4010726" cy="4690781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ABDF223F-04CF-4503-9D93-03E42E6EE8EF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9010251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8726" y="5053775"/>
            <a:ext cx="7315200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8726" y="612264"/>
            <a:ext cx="7315200" cy="4115772"/>
          </a:xfrm>
        </p:spPr>
        <p:txBody>
          <a:bodyPr/>
          <a:lstStyle>
            <a:lvl1pPr marL="0" indent="0">
              <a:buNone/>
              <a:defRPr sz="3265"/>
            </a:lvl1pPr>
            <a:lvl2pPr marL="466481" indent="0">
              <a:buNone/>
              <a:defRPr sz="2857"/>
            </a:lvl2pPr>
            <a:lvl3pPr marL="932962" indent="0">
              <a:buNone/>
              <a:defRPr sz="2449"/>
            </a:lvl3pPr>
            <a:lvl4pPr marL="1399443" indent="0">
              <a:buNone/>
              <a:defRPr sz="2041"/>
            </a:lvl4pPr>
            <a:lvl5pPr marL="1865925" indent="0">
              <a:buNone/>
              <a:defRPr sz="2041"/>
            </a:lvl5pPr>
            <a:lvl6pPr marL="2332406" indent="0">
              <a:buNone/>
              <a:defRPr sz="2041"/>
            </a:lvl6pPr>
            <a:lvl7pPr marL="2798887" indent="0">
              <a:buNone/>
              <a:defRPr sz="2041"/>
            </a:lvl7pPr>
            <a:lvl8pPr marL="3265368" indent="0">
              <a:buNone/>
              <a:defRPr sz="2041"/>
            </a:lvl8pPr>
            <a:lvl9pPr marL="3731849" indent="0">
              <a:buNone/>
              <a:defRPr sz="2041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8726" y="5367835"/>
            <a:ext cx="7315200" cy="805014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85173A2E-7DD1-49DA-B561-8ED34A5A9354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13309235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8C0334CD-1914-4F4D-9DE2-40FA677CFFF2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41286717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292800" y="234864"/>
            <a:ext cx="596830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4144" y="234864"/>
            <a:ext cx="8587314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874F9ED0-2D65-4A2F-AB73-2BE93BFA5D69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2779532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3193487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1" y="3742267"/>
            <a:ext cx="10394707" cy="1639614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7F47CF-67C9-420C-80A5-E2069FF0C2DF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81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685800" y="2063396"/>
            <a:ext cx="5088714" cy="3311189"/>
          </a:xfrm>
        </p:spPr>
        <p:txBody>
          <a:bodyPr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5993971" y="2063396"/>
            <a:ext cx="5086538" cy="3311189"/>
          </a:xfrm>
        </p:spPr>
        <p:txBody>
          <a:bodyPr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22DC73-F065-42F5-A9F2-D90B2E42A0B3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4707" cy="115814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8356" y="2063396"/>
            <a:ext cx="4856158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685802" y="2861733"/>
            <a:ext cx="5088712" cy="2512852"/>
          </a:xfrm>
        </p:spPr>
        <p:txBody>
          <a:bodyPr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8191" y="2063396"/>
            <a:ext cx="4864491" cy="679994"/>
          </a:xfrm>
        </p:spPr>
        <p:txBody>
          <a:bodyPr anchor="b">
            <a:noAutofit/>
          </a:bodyPr>
          <a:lstStyle>
            <a:lvl1pPr marL="0" indent="0">
              <a:lnSpc>
                <a:spcPct val="90000"/>
              </a:lnSpc>
              <a:buNone/>
              <a:defRPr sz="26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5993969" y="2861733"/>
            <a:ext cx="5088713" cy="2512852"/>
          </a:xfrm>
        </p:spPr>
        <p:txBody>
          <a:bodyPr anchor="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EA702-9B29-41CC-9BCC-3DF8A0D379FE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649AC-CB8F-4FF1-9A34-5861C74DD0A7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C5CECA-2D3A-4680-9B49-752200DE467C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3643" y="685800"/>
            <a:ext cx="4126860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46132" y="685800"/>
            <a:ext cx="6034375" cy="468878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3642" y="2709052"/>
            <a:ext cx="4126861" cy="2665533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C3BFE2-83B7-4B0A-B9D3-AB28331082B3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6345302" cy="2023252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82362" y="0"/>
            <a:ext cx="3598146" cy="5071533"/>
          </a:xfrm>
          <a:ln w="57150" cmpd="thinThick">
            <a:solidFill>
              <a:schemeClr val="bg1">
                <a:lumMod val="50000"/>
              </a:schemeClr>
            </a:solidFill>
            <a:miter lim="800000"/>
          </a:ln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5801" y="2709052"/>
            <a:ext cx="6345301" cy="2362481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78E3-FDA3-4D28-AAA2-0B81F349A39D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20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ags" Target="../tags/tag11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19" Type="http://schemas.openxmlformats.org/officeDocument/2006/relationships/tags" Target="../tags/tag6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rickwork-HD-R1a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-25397" y="0"/>
            <a:ext cx="12005350" cy="6644081"/>
            <a:chOff x="-25397" y="0"/>
            <a:chExt cx="12005350" cy="6644081"/>
          </a:xfrm>
        </p:grpSpPr>
        <p:sp useBgFill="1">
          <p:nvSpPr>
            <p:cNvPr id="11" name="Rectangle 10"/>
            <p:cNvSpPr/>
            <p:nvPr/>
          </p:nvSpPr>
          <p:spPr>
            <a:xfrm>
              <a:off x="1" y="0"/>
              <a:ext cx="11979952" cy="6644081"/>
            </a:xfrm>
            <a:prstGeom prst="rect">
              <a:avLst/>
            </a:prstGeom>
            <a:ln>
              <a:noFill/>
            </a:ln>
            <a:effectLst>
              <a:outerShdw blurRad="98425" dist="76200" dir="4380000" algn="tl" rotWithShape="0">
                <a:srgbClr val="000000">
                  <a:alpha val="68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-25397" y="0"/>
              <a:ext cx="11773291" cy="6419514"/>
            </a:xfrm>
            <a:custGeom>
              <a:avLst/>
              <a:gdLst/>
              <a:ahLst/>
              <a:cxnLst/>
              <a:rect l="l" t="t" r="r" b="b"/>
              <a:pathLst>
                <a:path w="11773291" h="6419514">
                  <a:moveTo>
                    <a:pt x="11750059" y="0"/>
                  </a:moveTo>
                  <a:lnTo>
                    <a:pt x="11773291" y="6419514"/>
                  </a:lnTo>
                  <a:lnTo>
                    <a:pt x="0" y="6411047"/>
                  </a:lnTo>
                </a:path>
              </a:pathLst>
            </a:custGeom>
            <a:ln w="82550">
              <a:solidFill>
                <a:schemeClr val="tx1">
                  <a:lumMod val="50000"/>
                  <a:lumOff val="50000"/>
                </a:schemeClr>
              </a:solidFill>
              <a:miter lim="800000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1" y="5600215"/>
              <a:ext cx="11706512" cy="780581"/>
            </a:xfrm>
            <a:prstGeom prst="rect">
              <a:avLst/>
            </a:prstGeom>
            <a:gradFill flip="none" rotWithShape="1">
              <a:gsLst>
                <a:gs pos="34000">
                  <a:schemeClr val="accent1"/>
                </a:gs>
                <a:gs pos="100000">
                  <a:schemeClr val="accent1">
                    <a:lumMod val="5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5801" y="685800"/>
            <a:ext cx="10396882" cy="11519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063396"/>
            <a:ext cx="10396883" cy="33111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98083" y="5757334"/>
            <a:ext cx="3784600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C35BB1C6-BF8F-4481-8AB2-603A1C8A906A}" type="datetimeFigureOut">
              <a:rPr lang="en-US" dirty="0"/>
              <a:t>2/16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1" y="5757334"/>
            <a:ext cx="5499719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287121" y="5757334"/>
            <a:ext cx="907186" cy="498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3200" cap="all" baseline="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cap="all" baseline="0">
          <a:solidFill>
            <a:schemeClr val="accent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60000"/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46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1026" name="Object 346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64144" y="234864"/>
            <a:ext cx="11725486" cy="298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8" name="McK 1. On-page tracker" hidden="1"/>
          <p:cNvSpPr>
            <a:spLocks noChangeArrowheads="1"/>
          </p:cNvSpPr>
          <p:nvPr/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28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030" name="ACET" hidden="1"/>
          <p:cNvGrpSpPr>
            <a:grpSpLocks/>
          </p:cNvGrpSpPr>
          <p:nvPr/>
        </p:nvGrpSpPr>
        <p:grpSpPr bwMode="auto">
          <a:xfrm>
            <a:off x="1976207" y="1396220"/>
            <a:ext cx="5801189" cy="531276"/>
            <a:chOff x="915" y="702"/>
            <a:chExt cx="2686" cy="328"/>
          </a:xfrm>
        </p:grpSpPr>
        <p:cxnSp>
          <p:nvCxnSpPr>
            <p:cNvPr id="1078" name="AutoShape 249" hidden="1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79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32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031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500868" y="6615602"/>
            <a:ext cx="43282" cy="188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24" b="1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|</a:t>
            </a:r>
          </a:p>
        </p:txBody>
      </p:sp>
      <p:sp>
        <p:nvSpPr>
          <p:cNvPr id="1317" name="Rectangle 29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680130" y="6632856"/>
            <a:ext cx="158698" cy="15696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20">
                <a:solidFill>
                  <a:srgbClr val="000000"/>
                </a:solidFill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9B24CBF9-C25E-447B-84C7-075B3192EE0D}" type="slidenum">
              <a:rPr lang="en-US" altLang="en-US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mtClean="0"/>
          </a:p>
        </p:txBody>
      </p:sp>
      <p:grpSp>
        <p:nvGrpSpPr>
          <p:cNvPr id="1034" name="McK Slide Elements"/>
          <p:cNvGrpSpPr>
            <a:grpSpLocks/>
          </p:cNvGrpSpPr>
          <p:nvPr userDrawn="1"/>
        </p:nvGrpSpPr>
        <p:grpSpPr bwMode="auto">
          <a:xfrm>
            <a:off x="161985" y="6423918"/>
            <a:ext cx="11060270" cy="364443"/>
            <a:chOff x="75" y="3966"/>
            <a:chExt cx="5121" cy="225"/>
          </a:xfrm>
        </p:grpSpPr>
        <p:sp>
          <p:nvSpPr>
            <p:cNvPr id="1319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966"/>
              <a:ext cx="5121" cy="9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pitchFamily="34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102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SimSun" pitchFamily="2" charset="-122"/>
                  <a:cs typeface="Arial" pitchFamily="34" charset="0"/>
                </a:rPr>
                <a:t>1 Footnote</a:t>
              </a:r>
            </a:p>
          </p:txBody>
        </p:sp>
        <p:sp>
          <p:nvSpPr>
            <p:cNvPr id="1077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92"/>
              <a:ext cx="5121" cy="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95300" indent="-495300" defTabSz="895350" eaLnBrk="0" hangingPunct="0"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87363" algn="l"/>
                </a:tabLs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505355" marR="0" lvl="0" indent="-50535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97256" algn="l"/>
                </a:tabLst>
                <a:defRPr/>
              </a:pPr>
              <a:r>
                <a:rPr kumimoji="0" lang="en-US" altLang="zh-CN" sz="102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SimSun" pitchFamily="2" charset="-122"/>
                  <a:cs typeface="Arial" pitchFamily="34" charset="0"/>
                </a:rPr>
                <a:t>Source:	Source</a:t>
              </a:r>
            </a:p>
          </p:txBody>
        </p:sp>
      </p:grpSp>
      <p:grpSp>
        <p:nvGrpSpPr>
          <p:cNvPr id="1035" name="LegendBoxes" hidden="1"/>
          <p:cNvGrpSpPr>
            <a:grpSpLocks/>
          </p:cNvGrpSpPr>
          <p:nvPr/>
        </p:nvGrpSpPr>
        <p:grpSpPr bwMode="auto">
          <a:xfrm>
            <a:off x="10740621" y="294794"/>
            <a:ext cx="952465" cy="997764"/>
            <a:chOff x="3394" y="519"/>
            <a:chExt cx="441" cy="616"/>
          </a:xfrm>
        </p:grpSpPr>
        <p:sp>
          <p:nvSpPr>
            <p:cNvPr id="1068" name="LegendRectangle1" hidden="1"/>
            <p:cNvSpPr>
              <a:spLocks noChangeArrowheads="1"/>
            </p:cNvSpPr>
            <p:nvPr userDrawn="1"/>
          </p:nvSpPr>
          <p:spPr bwMode="auto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1069" name="LegendRectangle2" hidden="1"/>
            <p:cNvSpPr>
              <a:spLocks noChangeArrowheads="1"/>
            </p:cNvSpPr>
            <p:nvPr userDrawn="1"/>
          </p:nvSpPr>
          <p:spPr bwMode="auto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1070" name="LegendRectangle3" hidden="1"/>
            <p:cNvSpPr>
              <a:spLocks noChangeArrowheads="1"/>
            </p:cNvSpPr>
            <p:nvPr userDrawn="1"/>
          </p:nvSpPr>
          <p:spPr bwMode="auto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1071" name="LegendRectangle4" hidden="1"/>
            <p:cNvSpPr>
              <a:spLocks noChangeArrowheads="1"/>
            </p:cNvSpPr>
            <p:nvPr userDrawn="1"/>
          </p:nvSpPr>
          <p:spPr bwMode="auto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endParaRPr>
            </a:p>
          </p:txBody>
        </p:sp>
        <p:sp>
          <p:nvSpPr>
            <p:cNvPr id="1072" name="Legend1" hidden="1"/>
            <p:cNvSpPr>
              <a:spLocks noChangeArrowheads="1"/>
            </p:cNvSpPr>
            <p:nvPr userDrawn="1"/>
          </p:nvSpPr>
          <p:spPr bwMode="auto">
            <a:xfrm>
              <a:off x="3554" y="519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1</a:t>
              </a:r>
            </a:p>
          </p:txBody>
        </p:sp>
        <p:sp>
          <p:nvSpPr>
            <p:cNvPr id="1073" name="Legend2" hidden="1"/>
            <p:cNvSpPr>
              <a:spLocks noChangeArrowheads="1"/>
            </p:cNvSpPr>
            <p:nvPr userDrawn="1"/>
          </p:nvSpPr>
          <p:spPr bwMode="auto">
            <a:xfrm>
              <a:off x="3554" y="684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2</a:t>
              </a:r>
            </a:p>
          </p:txBody>
        </p:sp>
        <p:sp>
          <p:nvSpPr>
            <p:cNvPr id="1074" name="Legend3" hidden="1"/>
            <p:cNvSpPr>
              <a:spLocks noChangeArrowheads="1"/>
            </p:cNvSpPr>
            <p:nvPr userDrawn="1"/>
          </p:nvSpPr>
          <p:spPr bwMode="auto">
            <a:xfrm>
              <a:off x="3554" y="849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3</a:t>
              </a:r>
            </a:p>
          </p:txBody>
        </p:sp>
        <p:sp>
          <p:nvSpPr>
            <p:cNvPr id="1075" name="Legend4" hidden="1"/>
            <p:cNvSpPr>
              <a:spLocks noChangeArrowheads="1"/>
            </p:cNvSpPr>
            <p:nvPr userDrawn="1"/>
          </p:nvSpPr>
          <p:spPr bwMode="auto">
            <a:xfrm>
              <a:off x="3554" y="1019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4</a:t>
              </a:r>
            </a:p>
          </p:txBody>
        </p:sp>
      </p:grpSp>
      <p:grpSp>
        <p:nvGrpSpPr>
          <p:cNvPr id="1036" name="LegendLines" hidden="1"/>
          <p:cNvGrpSpPr>
            <a:grpSpLocks/>
          </p:cNvGrpSpPr>
          <p:nvPr/>
        </p:nvGrpSpPr>
        <p:grpSpPr bwMode="auto">
          <a:xfrm>
            <a:off x="10308664" y="294795"/>
            <a:ext cx="1384423" cy="722407"/>
            <a:chOff x="2411" y="2750"/>
            <a:chExt cx="641" cy="446"/>
          </a:xfrm>
        </p:grpSpPr>
        <p:sp>
          <p:nvSpPr>
            <p:cNvPr id="1062" name="LineLegend1" hidden="1"/>
            <p:cNvSpPr>
              <a:spLocks noChangeShapeType="1"/>
            </p:cNvSpPr>
            <p:nvPr/>
          </p:nvSpPr>
          <p:spPr bwMode="auto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3" name="LineLegend2" hidden="1"/>
            <p:cNvSpPr>
              <a:spLocks noChangeShapeType="1"/>
            </p:cNvSpPr>
            <p:nvPr/>
          </p:nvSpPr>
          <p:spPr bwMode="auto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4" name="LineLegend3" hidden="1"/>
            <p:cNvSpPr>
              <a:spLocks noChangeShapeType="1"/>
            </p:cNvSpPr>
            <p:nvPr/>
          </p:nvSpPr>
          <p:spPr bwMode="auto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065" name="Legend1" hidden="1"/>
            <p:cNvSpPr>
              <a:spLocks noChangeArrowheads="1"/>
            </p:cNvSpPr>
            <p:nvPr userDrawn="1"/>
          </p:nvSpPr>
          <p:spPr bwMode="auto">
            <a:xfrm>
              <a:off x="2771" y="2750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1</a:t>
              </a:r>
            </a:p>
          </p:txBody>
        </p:sp>
        <p:sp>
          <p:nvSpPr>
            <p:cNvPr id="1066" name="Legend2" hidden="1"/>
            <p:cNvSpPr>
              <a:spLocks noChangeArrowheads="1"/>
            </p:cNvSpPr>
            <p:nvPr userDrawn="1"/>
          </p:nvSpPr>
          <p:spPr bwMode="auto">
            <a:xfrm>
              <a:off x="2771" y="2915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2</a:t>
              </a:r>
            </a:p>
          </p:txBody>
        </p:sp>
        <p:sp>
          <p:nvSpPr>
            <p:cNvPr id="1067" name="Legend3" hidden="1"/>
            <p:cNvSpPr>
              <a:spLocks noChangeArrowheads="1"/>
            </p:cNvSpPr>
            <p:nvPr userDrawn="1"/>
          </p:nvSpPr>
          <p:spPr bwMode="auto">
            <a:xfrm>
              <a:off x="2771" y="3080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3</a:t>
              </a:r>
            </a:p>
          </p:txBody>
        </p:sp>
      </p:grpSp>
      <p:grpSp>
        <p:nvGrpSpPr>
          <p:cNvPr id="1037" name="Sticker" hidden="1"/>
          <p:cNvGrpSpPr>
            <a:grpSpLocks/>
          </p:cNvGrpSpPr>
          <p:nvPr/>
        </p:nvGrpSpPr>
        <p:grpSpPr bwMode="auto">
          <a:xfrm>
            <a:off x="10399380" y="294795"/>
            <a:ext cx="1488093" cy="215426"/>
            <a:chOff x="4817" y="376"/>
            <a:chExt cx="689" cy="133"/>
          </a:xfrm>
        </p:grpSpPr>
        <p:cxnSp>
          <p:nvCxnSpPr>
            <p:cNvPr id="1059" name="AutoShape 335" hidden="1"/>
            <p:cNvCxnSpPr>
              <a:cxnSpLocks noChangeShapeType="1"/>
            </p:cNvCxnSpPr>
            <p:nvPr userDrawn="1"/>
          </p:nvCxnSpPr>
          <p:spPr bwMode="auto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060" name="AutoShape 336" hidden="1"/>
            <p:cNvSpPr>
              <a:spLocks noChangeArrowheads="1"/>
            </p:cNvSpPr>
            <p:nvPr userDrawn="1"/>
          </p:nvSpPr>
          <p:spPr bwMode="auto">
            <a:xfrm>
              <a:off x="4991" y="376"/>
              <a:ext cx="515" cy="13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1061" name="AutoShape 337" hidden="1"/>
            <p:cNvCxnSpPr>
              <a:cxnSpLocks noChangeShapeType="1"/>
            </p:cNvCxnSpPr>
            <p:nvPr userDrawn="1"/>
          </p:nvCxnSpPr>
          <p:spPr bwMode="auto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LegendMoons" hidden="1"/>
          <p:cNvGrpSpPr>
            <a:grpSpLocks/>
          </p:cNvGrpSpPr>
          <p:nvPr/>
        </p:nvGrpSpPr>
        <p:grpSpPr bwMode="auto">
          <a:xfrm>
            <a:off x="10719022" y="294794"/>
            <a:ext cx="974063" cy="1260162"/>
            <a:chOff x="4963" y="1345"/>
            <a:chExt cx="451" cy="778"/>
          </a:xfrm>
        </p:grpSpPr>
        <p:grpSp>
          <p:nvGrpSpPr>
            <p:cNvPr id="1039" name="MoonLegend1" hidden="1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4963" y="1347"/>
              <a:ext cx="112" cy="112"/>
              <a:chOff x="4533" y="183"/>
              <a:chExt cx="144" cy="144"/>
            </a:xfrm>
          </p:grpSpPr>
          <p:sp>
            <p:nvSpPr>
              <p:cNvPr id="1057" name="Oval 315" hidden="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blackWhite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8" name="Arc 316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black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040" name="MoonLegend2" hidden="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4963" y="1511"/>
              <a:ext cx="112" cy="112"/>
              <a:chOff x="1694" y="2044"/>
              <a:chExt cx="160" cy="160"/>
            </a:xfrm>
          </p:grpSpPr>
          <p:sp>
            <p:nvSpPr>
              <p:cNvPr id="1055" name="Oval 318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6" name="Arc 319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black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041" name="MoonLegend3" hidden="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4963" y="1676"/>
              <a:ext cx="112" cy="112"/>
              <a:chOff x="4495" y="897"/>
              <a:chExt cx="160" cy="160"/>
            </a:xfrm>
          </p:grpSpPr>
          <p:sp>
            <p:nvSpPr>
              <p:cNvPr id="1053" name="Oval 321" hidden="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blackWhite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4" name="Arc 322" hidden="1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black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042" name="MoonLegend4" hidden="1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4963" y="1843"/>
              <a:ext cx="112" cy="112"/>
              <a:chOff x="4495" y="1198"/>
              <a:chExt cx="160" cy="160"/>
            </a:xfrm>
          </p:grpSpPr>
          <p:sp>
            <p:nvSpPr>
              <p:cNvPr id="1051" name="Oval 324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blackWhite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2" name="Arc 325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black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043" name="Legend1" hidden="1"/>
            <p:cNvSpPr>
              <a:spLocks noChangeArrowheads="1"/>
            </p:cNvSpPr>
            <p:nvPr/>
          </p:nvSpPr>
          <p:spPr bwMode="auto">
            <a:xfrm>
              <a:off x="5133" y="1345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1</a:t>
              </a:r>
            </a:p>
          </p:txBody>
        </p:sp>
        <p:sp>
          <p:nvSpPr>
            <p:cNvPr id="1044" name="Legend2" hidden="1"/>
            <p:cNvSpPr>
              <a:spLocks noChangeArrowheads="1"/>
            </p:cNvSpPr>
            <p:nvPr/>
          </p:nvSpPr>
          <p:spPr bwMode="auto">
            <a:xfrm>
              <a:off x="5133" y="1510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2</a:t>
              </a:r>
            </a:p>
          </p:txBody>
        </p:sp>
        <p:sp>
          <p:nvSpPr>
            <p:cNvPr id="1045" name="Legend3" hidden="1"/>
            <p:cNvSpPr>
              <a:spLocks noChangeArrowheads="1"/>
            </p:cNvSpPr>
            <p:nvPr/>
          </p:nvSpPr>
          <p:spPr bwMode="auto">
            <a:xfrm>
              <a:off x="5133" y="1675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3</a:t>
              </a:r>
            </a:p>
          </p:txBody>
        </p:sp>
        <p:sp>
          <p:nvSpPr>
            <p:cNvPr id="1046" name="Legend4" hidden="1"/>
            <p:cNvSpPr>
              <a:spLocks noChangeArrowheads="1"/>
            </p:cNvSpPr>
            <p:nvPr/>
          </p:nvSpPr>
          <p:spPr bwMode="auto">
            <a:xfrm>
              <a:off x="5133" y="1842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4</a:t>
              </a:r>
            </a:p>
          </p:txBody>
        </p:sp>
        <p:sp>
          <p:nvSpPr>
            <p:cNvPr id="1047" name="Legend5" hidden="1"/>
            <p:cNvSpPr>
              <a:spLocks noChangeArrowheads="1"/>
            </p:cNvSpPr>
            <p:nvPr/>
          </p:nvSpPr>
          <p:spPr bwMode="auto">
            <a:xfrm>
              <a:off x="5133" y="2007"/>
              <a:ext cx="28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24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rPr>
                <a:t>Legend5</a:t>
              </a:r>
            </a:p>
          </p:txBody>
        </p:sp>
        <p:grpSp>
          <p:nvGrpSpPr>
            <p:cNvPr id="1048" name="MoonLegend5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4963" y="2008"/>
              <a:ext cx="112" cy="112"/>
              <a:chOff x="4849" y="1843"/>
              <a:chExt cx="112" cy="112"/>
            </a:xfrm>
          </p:grpSpPr>
          <p:sp>
            <p:nvSpPr>
              <p:cNvPr id="1049" name="Oval 339" hidden="1"/>
              <p:cNvSpPr>
                <a:spLocks noChangeAspect="1" noChangeArrowheads="1"/>
              </p:cNvSpPr>
              <p:nvPr userDrawn="1">
                <p:custDataLst>
                  <p:tags r:id="rId21"/>
                </p:custDataLst>
              </p:nvPr>
            </p:nvSpPr>
            <p:spPr bwMode="blackWhite">
              <a:xfrm>
                <a:off x="4849" y="1843"/>
                <a:ext cx="112" cy="112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0" name="Oval 340" hidden="1"/>
              <p:cNvSpPr>
                <a:spLocks noChangeArrowheads="1"/>
              </p:cNvSpPr>
              <p:nvPr userDrawn="1">
                <p:custDataLst>
                  <p:tags r:id="rId22"/>
                </p:custDataLst>
              </p:nvPr>
            </p:nvSpPr>
            <p:spPr bwMode="black">
              <a:xfrm>
                <a:off x="4849" y="1843"/>
                <a:ext cx="112" cy="112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marL="0" marR="0" lvl="0" indent="0" algn="l" defTabSz="93296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632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63958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3.png"/><Relationship Id="rId4" Type="http://schemas.openxmlformats.org/officeDocument/2006/relationships/image" Target="../media/image22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3.png"/><Relationship Id="rId4" Type="http://schemas.openxmlformats.org/officeDocument/2006/relationships/image" Target="../media/image24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1.png"/><Relationship Id="rId4" Type="http://schemas.openxmlformats.org/officeDocument/2006/relationships/image" Target="../media/image25.emf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.xml"/><Relationship Id="rId13" Type="http://schemas.openxmlformats.org/officeDocument/2006/relationships/diagramLayout" Target="../diagrams/layout8.xml"/><Relationship Id="rId3" Type="http://schemas.openxmlformats.org/officeDocument/2006/relationships/diagramLayout" Target="../diagrams/layout6.xml"/><Relationship Id="rId7" Type="http://schemas.openxmlformats.org/officeDocument/2006/relationships/diagramData" Target="../diagrams/data7.xml"/><Relationship Id="rId12" Type="http://schemas.openxmlformats.org/officeDocument/2006/relationships/diagramData" Target="../diagrams/data8.xml"/><Relationship Id="rId2" Type="http://schemas.openxmlformats.org/officeDocument/2006/relationships/diagramData" Target="../diagrams/data6.xml"/><Relationship Id="rId16" Type="http://schemas.microsoft.com/office/2007/relationships/diagramDrawing" Target="../diagrams/drawing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11" Type="http://schemas.microsoft.com/office/2007/relationships/diagramDrawing" Target="../diagrams/drawing7.xml"/><Relationship Id="rId5" Type="http://schemas.openxmlformats.org/officeDocument/2006/relationships/diagramColors" Target="../diagrams/colors6.xml"/><Relationship Id="rId15" Type="http://schemas.openxmlformats.org/officeDocument/2006/relationships/diagramColors" Target="../diagrams/colors8.xml"/><Relationship Id="rId10" Type="http://schemas.openxmlformats.org/officeDocument/2006/relationships/diagramColors" Target="../diagrams/colors7.xml"/><Relationship Id="rId4" Type="http://schemas.openxmlformats.org/officeDocument/2006/relationships/diagramQuickStyle" Target="../diagrams/quickStyle6.xml"/><Relationship Id="rId9" Type="http://schemas.openxmlformats.org/officeDocument/2006/relationships/diagramQuickStyle" Target="../diagrams/quickStyle7.xml"/><Relationship Id="rId14" Type="http://schemas.openxmlformats.org/officeDocument/2006/relationships/diagramQuickStyle" Target="../diagrams/quickStyle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microsoft.com/office/2007/relationships/hdphoto" Target="../media/hdphoto4.wdp"/><Relationship Id="rId7" Type="http://schemas.openxmlformats.org/officeDocument/2006/relationships/diagramColors" Target="../diagrams/colors11.xml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6.xml"/><Relationship Id="rId3" Type="http://schemas.openxmlformats.org/officeDocument/2006/relationships/diagramLayout" Target="../diagrams/layout15.xml"/><Relationship Id="rId7" Type="http://schemas.openxmlformats.org/officeDocument/2006/relationships/image" Target="../media/image40.png"/><Relationship Id="rId12" Type="http://schemas.microsoft.com/office/2007/relationships/diagramDrawing" Target="../diagrams/drawing16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5.xml"/><Relationship Id="rId11" Type="http://schemas.openxmlformats.org/officeDocument/2006/relationships/diagramColors" Target="../diagrams/colors16.xml"/><Relationship Id="rId5" Type="http://schemas.openxmlformats.org/officeDocument/2006/relationships/diagramColors" Target="../diagrams/colors15.xml"/><Relationship Id="rId10" Type="http://schemas.openxmlformats.org/officeDocument/2006/relationships/diagramQuickStyle" Target="../diagrams/quickStyle16.xml"/><Relationship Id="rId4" Type="http://schemas.openxmlformats.org/officeDocument/2006/relationships/diagramQuickStyle" Target="../diagrams/quickStyle15.xml"/><Relationship Id="rId9" Type="http://schemas.openxmlformats.org/officeDocument/2006/relationships/diagramLayout" Target="../diagrams/layout1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hyperlink" Target="mailto:radin.muhd@moe.gov.my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MY" smtClean="0"/>
              <a:t>Mathematics curriculum in malaysi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21420000">
            <a:off x="995883" y="3504873"/>
            <a:ext cx="9755187" cy="1040289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MY" smtClean="0"/>
              <a:t>By: radin muhd Imaduddin bin radin Abdul halim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MY" smtClean="0"/>
              <a:t>Curriculum development division, moe malaysi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2311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http://www.queeky.com/share/drawings/objects/191310/what-is-inside.jp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0" cy="74107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smtClean="0"/>
              <a:t>Content organisatio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MY" smtClean="0"/>
              <a:t>Standard curriculum for primary schoo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3444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ikrah maths edit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1999" y="1054100"/>
            <a:ext cx="6997700" cy="377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1524000" y="3255963"/>
            <a:ext cx="2667000" cy="1671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B2A1C7"/>
                    </a:gs>
                    <a:gs pos="50000">
                      <a:srgbClr val="E5DFEC"/>
                    </a:gs>
                    <a:gs pos="100000">
                      <a:srgbClr val="B2A1C7"/>
                    </a:gs>
                  </a:gsLst>
                  <a:lin ang="189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B2A1C7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pPr marL="355600" indent="-266700" algn="just" rtl="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i-FI"/>
              <a:t>Communication</a:t>
            </a:r>
            <a:endParaRPr lang="en-US"/>
          </a:p>
          <a:p>
            <a:pPr marL="355600" indent="-2667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Reasoning</a:t>
            </a:r>
          </a:p>
          <a:p>
            <a:pPr marL="355600" indent="-2667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Connections</a:t>
            </a:r>
          </a:p>
          <a:p>
            <a:pPr marL="355600" indent="-2667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Problem Solving</a:t>
            </a:r>
          </a:p>
          <a:p>
            <a:pPr marL="355600" indent="-2667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Representation </a:t>
            </a:r>
          </a:p>
        </p:txBody>
      </p:sp>
      <p:sp>
        <p:nvSpPr>
          <p:cNvPr id="6" name="Text Box 6"/>
          <p:cNvSpPr txBox="1">
            <a:spLocks noChangeArrowheads="1"/>
          </p:cNvSpPr>
          <p:nvPr/>
        </p:nvSpPr>
        <p:spPr bwMode="auto">
          <a:xfrm>
            <a:off x="6629399" y="723900"/>
            <a:ext cx="3479801" cy="1587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B2A1C7"/>
                    </a:gs>
                    <a:gs pos="50000">
                      <a:srgbClr val="E5DFEC"/>
                    </a:gs>
                    <a:gs pos="100000">
                      <a:srgbClr val="B2A1C7"/>
                    </a:gs>
                  </a:gsLst>
                  <a:lin ang="189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B2A1C7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pPr marL="457200" indent="-457200" algn="just" rtl="0">
              <a:buFont typeface="Arial" panose="020B0604020202020204" pitchFamily="34" charset="0"/>
              <a:buChar char="•"/>
            </a:pPr>
            <a:r>
              <a:rPr lang="fi-FI"/>
              <a:t>Numbers and Operations</a:t>
            </a:r>
            <a:endParaRPr lang="en-US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fi-FI"/>
              <a:t>Measurement and Geometry</a:t>
            </a:r>
            <a:endParaRPr lang="en-US"/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/>
              <a:t>Relationship and Algebra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/>
              <a:t>Statistics and Probability </a:t>
            </a:r>
          </a:p>
          <a:p>
            <a:pPr marL="457200" indent="-457200" algn="just">
              <a:buFont typeface="Arial" panose="020B0604020202020204" pitchFamily="34" charset="0"/>
              <a:buChar char="•"/>
            </a:pPr>
            <a:r>
              <a:rPr lang="en-US"/>
              <a:t>Discrete Number</a:t>
            </a:r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3911599" y="4721556"/>
            <a:ext cx="5435600" cy="88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B2A1C7"/>
                    </a:gs>
                    <a:gs pos="50000">
                      <a:srgbClr val="E5DFEC"/>
                    </a:gs>
                    <a:gs pos="100000">
                      <a:srgbClr val="B2A1C7"/>
                    </a:gs>
                  </a:gsLst>
                  <a:lin ang="18900000" scaled="1"/>
                </a:gra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B2A1C7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pPr marL="444500" indent="-355600" algn="just" rtl="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Thinking skills</a:t>
            </a:r>
          </a:p>
          <a:p>
            <a:pPr marL="444500" indent="-3556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Soft skills</a:t>
            </a:r>
          </a:p>
          <a:p>
            <a:pPr marL="444500" indent="-3556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Information Communication Technology skills </a:t>
            </a:r>
          </a:p>
        </p:txBody>
      </p:sp>
      <p:sp>
        <p:nvSpPr>
          <p:cNvPr id="8" name="Rectangle 7"/>
          <p:cNvSpPr/>
          <p:nvPr/>
        </p:nvSpPr>
        <p:spPr>
          <a:xfrm>
            <a:off x="6769100" y="3212405"/>
            <a:ext cx="43307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spcBef>
                <a:spcPts val="900"/>
              </a:spcBef>
              <a:buFont typeface="Symbol" panose="05050102010706020507" pitchFamily="18" charset="2"/>
              <a:buChar char=""/>
            </a:pPr>
            <a:r>
              <a:rPr lang="en-US"/>
              <a:t>Perception, interest, appreciation, confidently resilient and perseverance.</a:t>
            </a:r>
          </a:p>
          <a:p>
            <a:pPr marL="342900" lvl="0" indent="-342900"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US"/>
              <a:t>Personality, interaction, procedure, intrinsic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13395"/>
            <a:ext cx="7848600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MY" sz="4000" smtClean="0"/>
              <a:t>Mathematic Curriculum Frameworks</a:t>
            </a:r>
            <a:endParaRPr lang="en-US" sz="4000"/>
          </a:p>
        </p:txBody>
      </p:sp>
    </p:spTree>
    <p:extLst>
      <p:ext uri="{BB962C8B-B14F-4D97-AF65-F5344CB8AC3E}">
        <p14:creationId xmlns:p14="http://schemas.microsoft.com/office/powerpoint/2010/main" val="602661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78783205"/>
              </p:ext>
            </p:extLst>
          </p:nvPr>
        </p:nvGraphicFramePr>
        <p:xfrm>
          <a:off x="4380931" y="0"/>
          <a:ext cx="8475260" cy="67010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36731" y="1064525"/>
            <a:ext cx="446281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/>
              <a:t>The curriculum </a:t>
            </a:r>
            <a:r>
              <a:rPr lang="en-US" sz="3200" smtClean="0"/>
              <a:t>document is </a:t>
            </a:r>
            <a:r>
              <a:rPr lang="en-US" sz="3200"/>
              <a:t>the main locus for the class implementation, text book writings, and even the items to be asked in the students’ assessment</a:t>
            </a:r>
          </a:p>
        </p:txBody>
      </p:sp>
    </p:spTree>
    <p:extLst>
      <p:ext uri="{BB962C8B-B14F-4D97-AF65-F5344CB8AC3E}">
        <p14:creationId xmlns:p14="http://schemas.microsoft.com/office/powerpoint/2010/main" val="2238335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5423780"/>
              </p:ext>
            </p:extLst>
          </p:nvPr>
        </p:nvGraphicFramePr>
        <p:xfrm>
          <a:off x="-1" y="1092196"/>
          <a:ext cx="11747502" cy="4432303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586252">
                  <a:extLst>
                    <a:ext uri="{9D8B030D-6E8A-4147-A177-3AD203B41FA5}">
                      <a16:colId xmlns:a16="http://schemas.microsoft.com/office/drawing/2014/main" val="716645674"/>
                    </a:ext>
                  </a:extLst>
                </a:gridCol>
                <a:gridCol w="2509050">
                  <a:extLst>
                    <a:ext uri="{9D8B030D-6E8A-4147-A177-3AD203B41FA5}">
                      <a16:colId xmlns:a16="http://schemas.microsoft.com/office/drawing/2014/main" val="3950699505"/>
                    </a:ext>
                  </a:extLst>
                </a:gridCol>
                <a:gridCol w="2135910">
                  <a:extLst>
                    <a:ext uri="{9D8B030D-6E8A-4147-A177-3AD203B41FA5}">
                      <a16:colId xmlns:a16="http://schemas.microsoft.com/office/drawing/2014/main" val="2271814839"/>
                    </a:ext>
                  </a:extLst>
                </a:gridCol>
                <a:gridCol w="2380381">
                  <a:extLst>
                    <a:ext uri="{9D8B030D-6E8A-4147-A177-3AD203B41FA5}">
                      <a16:colId xmlns:a16="http://schemas.microsoft.com/office/drawing/2014/main" val="1519531578"/>
                    </a:ext>
                  </a:extLst>
                </a:gridCol>
                <a:gridCol w="2135909">
                  <a:extLst>
                    <a:ext uri="{9D8B030D-6E8A-4147-A177-3AD203B41FA5}">
                      <a16:colId xmlns:a16="http://schemas.microsoft.com/office/drawing/2014/main" val="2488188410"/>
                    </a:ext>
                  </a:extLst>
                </a:gridCol>
              </a:tblGrid>
              <a:tr h="972335"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800" b="0">
                          <a:effectLst/>
                        </a:rPr>
                        <a:t>Numbers and Operations</a:t>
                      </a:r>
                      <a:endParaRPr lang="en-US" sz="36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800" b="0">
                          <a:effectLst/>
                        </a:rPr>
                        <a:t>Measurements and Geometry</a:t>
                      </a:r>
                      <a:endParaRPr lang="en-US" sz="36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800" b="0">
                          <a:effectLst/>
                        </a:rPr>
                        <a:t>Relationship and Algebra</a:t>
                      </a:r>
                      <a:endParaRPr lang="en-US" sz="36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800" b="0">
                          <a:effectLst/>
                        </a:rPr>
                        <a:t>Statistics and Probability</a:t>
                      </a:r>
                      <a:endParaRPr lang="en-US" sz="36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800" b="0">
                          <a:effectLst/>
                        </a:rPr>
                        <a:t>Discrete Mathematics</a:t>
                      </a:r>
                      <a:endParaRPr lang="en-US" sz="36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42126617"/>
                  </a:ext>
                </a:extLst>
              </a:tr>
              <a:tr h="766014">
                <a:tc>
                  <a:txBody>
                    <a:bodyPr/>
                    <a:lstStyle/>
                    <a:p>
                      <a:pPr marL="342900" lvl="0" indent="-342900" rtl="0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Whole Numbers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Time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Coordinate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Data managements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01295" indent="-201295" algn="ctr"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-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7476850"/>
                  </a:ext>
                </a:extLst>
              </a:tr>
              <a:tr h="972335">
                <a:tc>
                  <a:txBody>
                    <a:bodyPr/>
                    <a:lstStyle/>
                    <a:p>
                      <a:pPr marL="342900" lvl="0" indent="-342900" rtl="0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Basic Operations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Measurements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Ratio and Proportions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Likelihood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0FF00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9784620"/>
                  </a:ext>
                </a:extLst>
              </a:tr>
              <a:tr h="1149022">
                <a:tc>
                  <a:txBody>
                    <a:bodyPr/>
                    <a:lstStyle/>
                    <a:p>
                      <a:pPr marL="342900" lvl="0" indent="-342900" rtl="0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Fractions, Decimals, and Percentage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rtl="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Space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8662730"/>
                  </a:ext>
                </a:extLst>
              </a:tr>
              <a:tr h="572597">
                <a:tc>
                  <a:txBody>
                    <a:bodyPr/>
                    <a:lstStyle/>
                    <a:p>
                      <a:pPr marL="342900" lvl="0" indent="-342900" rtl="0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Money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 b="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201295"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a:t> </a:t>
                      </a:r>
                      <a:endParaRPr lang="en-US" sz="3200" b="0">
                        <a:effectLst/>
                        <a:latin typeface="Cambria Math" panose="02040503050406030204" pitchFamily="18" charset="0"/>
                        <a:ea typeface="Cambria Math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257531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3395"/>
            <a:ext cx="11747501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Topics in Primary School</a:t>
            </a:r>
            <a:endParaRPr lang="en-US" sz="4000"/>
          </a:p>
        </p:txBody>
      </p:sp>
      <p:sp>
        <p:nvSpPr>
          <p:cNvPr id="4" name="Rectangle 3"/>
          <p:cNvSpPr/>
          <p:nvPr/>
        </p:nvSpPr>
        <p:spPr>
          <a:xfrm>
            <a:off x="7547214" y="5595581"/>
            <a:ext cx="1173708" cy="39294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547214" y="5988522"/>
            <a:ext cx="1173708" cy="392941"/>
          </a:xfrm>
          <a:prstGeom prst="rect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8720921" y="5595581"/>
            <a:ext cx="3016155" cy="39294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mtClean="0">
                <a:solidFill>
                  <a:srgbClr val="FF0000"/>
                </a:solidFill>
              </a:rPr>
              <a:t>Year 1 – Year 3 (Key Stage 1)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720920" y="5988521"/>
            <a:ext cx="3016156" cy="392941"/>
          </a:xfrm>
          <a:prstGeom prst="rect">
            <a:avLst/>
          </a:prstGeom>
          <a:solidFill>
            <a:srgbClr val="00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mtClean="0">
                <a:solidFill>
                  <a:srgbClr val="FF0000"/>
                </a:solidFill>
              </a:rPr>
              <a:t>Year 4 – Year 6 (Key Stage 2)</a:t>
            </a:r>
            <a:endParaRPr lang="en-US">
              <a:solidFill>
                <a:srgbClr val="FF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47214" y="5988521"/>
            <a:ext cx="573206" cy="39294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803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257332284"/>
              </p:ext>
            </p:extLst>
          </p:nvPr>
        </p:nvGraphicFramePr>
        <p:xfrm>
          <a:off x="0" y="0"/>
          <a:ext cx="12192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2439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975219769"/>
              </p:ext>
            </p:extLst>
          </p:nvPr>
        </p:nvGraphicFramePr>
        <p:xfrm>
          <a:off x="0" y="0"/>
          <a:ext cx="1219200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626923" y="6198918"/>
            <a:ext cx="2968831" cy="40011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2000" smtClean="0"/>
              <a:t>Knowledge</a:t>
            </a: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4595754" y="6198918"/>
            <a:ext cx="2968831" cy="40011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2000" smtClean="0"/>
              <a:t>Skills</a:t>
            </a:r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564585" y="6198918"/>
            <a:ext cx="2968831" cy="40011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2000" smtClean="0"/>
              <a:t>Value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038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349" y="769441"/>
            <a:ext cx="12199349" cy="6088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0" y="0"/>
            <a:ext cx="6899564" cy="76944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MY" sz="4400" smtClean="0"/>
              <a:t>Example: KSSR edition 2011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242222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0" y="0"/>
            <a:ext cx="12192000" cy="76944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MY" sz="4400" smtClean="0"/>
              <a:t>Example: KSSR edition 201</a:t>
            </a:r>
            <a:r>
              <a:rPr lang="en-MY" sz="440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7</a:t>
            </a:r>
            <a:r>
              <a:rPr lang="en-MY" sz="440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(now in piloting phase)</a:t>
            </a:r>
            <a:endParaRPr lang="en-US" sz="440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9441"/>
            <a:ext cx="12192000" cy="6088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154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0"/>
            <a:ext cx="12192000" cy="769441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MY" sz="4400" smtClean="0"/>
              <a:t>Example: KSSR edition 201</a:t>
            </a:r>
            <a:r>
              <a:rPr lang="en-MY" sz="4400" smtClean="0">
                <a:ln w="0"/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7</a:t>
            </a:r>
            <a:r>
              <a:rPr lang="en-MY" sz="440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(now in piloting phase)</a:t>
            </a:r>
            <a:endParaRPr lang="en-US" sz="440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9441"/>
            <a:ext cx="12192000" cy="6120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139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4842239"/>
              </p:ext>
            </p:extLst>
          </p:nvPr>
        </p:nvGraphicFramePr>
        <p:xfrm>
          <a:off x="247409" y="990600"/>
          <a:ext cx="11239888" cy="5867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Document" r:id="rId3" imgW="5732708" imgH="2992787" progId="Word.Document.12">
                  <p:embed/>
                </p:oleObj>
              </mc:Choice>
              <mc:Fallback>
                <p:oleObj name="Document" r:id="rId3" imgW="5732708" imgH="299278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47409" y="990600"/>
                        <a:ext cx="11239888" cy="5867400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247409" y="7035"/>
            <a:ext cx="11239888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pPr marL="457200" indent="-12700" algn="ctr">
              <a:spcBef>
                <a:spcPts val="900"/>
              </a:spcBef>
              <a:spcAft>
                <a:spcPts val="0"/>
              </a:spcAft>
            </a:pPr>
            <a:r>
              <a:rPr lang="en-US" sz="2800" b="1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General Descriptor </a:t>
            </a:r>
            <a:r>
              <a:rPr lang="en-US" sz="2800" b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en-US" sz="2800" b="1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Performance Standard Framework</a:t>
            </a:r>
            <a:endParaRPr lang="en-US" sz="3600" b="1"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049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Map of Malaysia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202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59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12828"/>
          <a:stretch/>
        </p:blipFill>
        <p:spPr>
          <a:xfrm>
            <a:off x="-1" y="1579982"/>
            <a:ext cx="11710737" cy="4770018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l="43959" t="22642" r="10422" b="59594"/>
          <a:stretch/>
        </p:blipFill>
        <p:spPr>
          <a:xfrm rot="1245661">
            <a:off x="6962273" y="705852"/>
            <a:ext cx="5935579" cy="129941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1921495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6055" y="3073015"/>
            <a:ext cx="2674961" cy="106452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smtClean="0"/>
              <a:t>1</a:t>
            </a:r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3100327" y="3073015"/>
            <a:ext cx="2674961" cy="106452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/>
              <a:t>2</a:t>
            </a:r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6034599" y="3059367"/>
            <a:ext cx="2674961" cy="1064526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smtClean="0"/>
              <a:t>3</a:t>
            </a:r>
            <a:endParaRPr lang="en-US" sz="4000"/>
          </a:p>
        </p:txBody>
      </p:sp>
      <p:sp>
        <p:nvSpPr>
          <p:cNvPr id="5" name="Rectangle 4"/>
          <p:cNvSpPr/>
          <p:nvPr/>
        </p:nvSpPr>
        <p:spPr>
          <a:xfrm>
            <a:off x="8968871" y="3073015"/>
            <a:ext cx="2674961" cy="1064526"/>
          </a:xfrm>
          <a:prstGeom prst="rect">
            <a:avLst/>
          </a:prstGeom>
          <a:solidFill>
            <a:srgbClr val="03AD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smtClean="0"/>
              <a:t>4</a:t>
            </a:r>
            <a:endParaRPr lang="en-US" sz="4000"/>
          </a:p>
        </p:txBody>
      </p:sp>
      <p:sp>
        <p:nvSpPr>
          <p:cNvPr id="6" name="Rectangle 5"/>
          <p:cNvSpPr/>
          <p:nvPr/>
        </p:nvSpPr>
        <p:spPr>
          <a:xfrm>
            <a:off x="8968870" y="1696296"/>
            <a:ext cx="2674961" cy="1064526"/>
          </a:xfrm>
          <a:prstGeom prst="rect">
            <a:avLst/>
          </a:prstGeom>
          <a:solidFill>
            <a:srgbClr val="03AD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smtClean="0"/>
              <a:t>5</a:t>
            </a:r>
            <a:endParaRPr lang="en-US" sz="4000"/>
          </a:p>
        </p:txBody>
      </p:sp>
      <p:sp>
        <p:nvSpPr>
          <p:cNvPr id="7" name="Rectangle 6"/>
          <p:cNvSpPr/>
          <p:nvPr/>
        </p:nvSpPr>
        <p:spPr>
          <a:xfrm>
            <a:off x="8968869" y="319577"/>
            <a:ext cx="2674961" cy="1064526"/>
          </a:xfrm>
          <a:prstGeom prst="rect">
            <a:avLst/>
          </a:prstGeom>
          <a:solidFill>
            <a:srgbClr val="03AD0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MY" sz="4000" smtClean="0"/>
              <a:t>6</a:t>
            </a:r>
            <a:endParaRPr lang="en-US" sz="4000"/>
          </a:p>
        </p:txBody>
      </p:sp>
      <p:sp>
        <p:nvSpPr>
          <p:cNvPr id="8" name="Right Arrow 7"/>
          <p:cNvSpPr/>
          <p:nvPr/>
        </p:nvSpPr>
        <p:spPr>
          <a:xfrm>
            <a:off x="2688609" y="3425584"/>
            <a:ext cx="709684" cy="43672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ight Arrow 8"/>
          <p:cNvSpPr/>
          <p:nvPr/>
        </p:nvSpPr>
        <p:spPr>
          <a:xfrm>
            <a:off x="5679757" y="3425584"/>
            <a:ext cx="709684" cy="43672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ight Arrow 9"/>
          <p:cNvSpPr/>
          <p:nvPr/>
        </p:nvSpPr>
        <p:spPr>
          <a:xfrm>
            <a:off x="8614028" y="3373266"/>
            <a:ext cx="709684" cy="43672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ight Arrow 10"/>
          <p:cNvSpPr/>
          <p:nvPr/>
        </p:nvSpPr>
        <p:spPr>
          <a:xfrm rot="16200000">
            <a:off x="9951508" y="2698555"/>
            <a:ext cx="709684" cy="43672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 rot="16200000">
            <a:off x="9951508" y="1300511"/>
            <a:ext cx="709684" cy="436728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166054" y="4214881"/>
            <a:ext cx="56092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MY" smtClean="0"/>
              <a:t>Know basic mathematical knowledge</a:t>
            </a:r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840541" y="4584213"/>
            <a:ext cx="52501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ea typeface="Times New Roman" panose="02020603050405020304" pitchFamily="18" charset="0"/>
              </a:rPr>
              <a:t>Know and understand basic mathematical knowledge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4437807" y="4889491"/>
            <a:ext cx="44714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mtClean="0">
                <a:ea typeface="Times New Roman" panose="02020603050405020304" pitchFamily="18" charset="0"/>
              </a:rPr>
              <a:t>Able </a:t>
            </a:r>
            <a:r>
              <a:rPr lang="en-US">
                <a:ea typeface="Times New Roman" panose="02020603050405020304" pitchFamily="18" charset="0"/>
              </a:rPr>
              <a:t>to apply basic arithmetic operations; </a:t>
            </a:r>
            <a:r>
              <a:rPr lang="en-US" smtClean="0">
                <a:ea typeface="Times New Roman" panose="02020603050405020304" pitchFamily="18" charset="0"/>
              </a:rPr>
              <a:t>Able </a:t>
            </a:r>
            <a:r>
              <a:rPr lang="en-US">
                <a:ea typeface="Times New Roman" panose="02020603050405020304" pitchFamily="18" charset="0"/>
              </a:rPr>
              <a:t>to apply knowledge on basic conversion</a:t>
            </a:r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8134068" y="4172751"/>
            <a:ext cx="372584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mtClean="0">
                <a:ea typeface="Times New Roman" panose="02020603050405020304" pitchFamily="18" charset="0"/>
              </a:rPr>
              <a:t>Able </a:t>
            </a:r>
            <a:r>
              <a:rPr lang="en-US">
                <a:ea typeface="Times New Roman" panose="02020603050405020304" pitchFamily="18" charset="0"/>
              </a:rPr>
              <a:t>to apply calculation procedures in solving routine daily problems.</a:t>
            </a:r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5047386" y="1830775"/>
            <a:ext cx="392148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>
                <a:ea typeface="Times New Roman" panose="02020603050405020304" pitchFamily="18" charset="0"/>
              </a:rPr>
              <a:t>Able to apply mathematical knowledge and skills in solving routine daily problems using various strategy.</a:t>
            </a:r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4053385" y="390175"/>
            <a:ext cx="48558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>
                <a:ea typeface="Times New Roman" panose="02020603050405020304" pitchFamily="18" charset="0"/>
              </a:rPr>
              <a:t>Able to apply mathematical knowledge and skills in solving non-routine daily problems using various strategy creatively and innovatively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41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502433"/>
              </p:ext>
            </p:extLst>
          </p:nvPr>
        </p:nvGraphicFramePr>
        <p:xfrm>
          <a:off x="15875" y="930275"/>
          <a:ext cx="12015788" cy="6176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Document" r:id="rId3" imgW="9392370" imgH="4844616" progId="Word.Document.12">
                  <p:embed/>
                </p:oleObj>
              </mc:Choice>
              <mc:Fallback>
                <p:oleObj name="Document" r:id="rId3" imgW="9392370" imgH="484461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5" y="930275"/>
                        <a:ext cx="12015788" cy="6176963"/>
                      </a:xfrm>
                      <a:prstGeom prst="rect">
                        <a:avLst/>
                      </a:prstGeom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33567" t="49393" r="44615" b="30085"/>
          <a:stretch/>
        </p:blipFill>
        <p:spPr>
          <a:xfrm>
            <a:off x="8993623" y="-208184"/>
            <a:ext cx="3070998" cy="1624086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57188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60359696"/>
              </p:ext>
            </p:extLst>
          </p:nvPr>
        </p:nvGraphicFramePr>
        <p:xfrm>
          <a:off x="232654" y="1490512"/>
          <a:ext cx="11286058" cy="57623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Document" r:id="rId3" imgW="8032248" imgH="4108572" progId="Word.Document.12">
                  <p:embed/>
                </p:oleObj>
              </mc:Choice>
              <mc:Fallback>
                <p:oleObj name="Document" r:id="rId3" imgW="8032248" imgH="4108572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2654" y="1490512"/>
                        <a:ext cx="11286058" cy="5762395"/>
                      </a:xfrm>
                      <a:prstGeom prst="rect">
                        <a:avLst/>
                      </a:prstGeom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/>
          <a:srcRect l="46900" t="60700" r="25951" b="22227"/>
          <a:stretch/>
        </p:blipFill>
        <p:spPr>
          <a:xfrm>
            <a:off x="232655" y="1"/>
            <a:ext cx="4107334" cy="1452235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419851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1747356"/>
              </p:ext>
            </p:extLst>
          </p:nvPr>
        </p:nvGraphicFramePr>
        <p:xfrm>
          <a:off x="13648" y="2074462"/>
          <a:ext cx="12082463" cy="48011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Document" r:id="rId3" imgW="5732708" imgH="2116516" progId="Word.Document.12">
                  <p:embed/>
                </p:oleObj>
              </mc:Choice>
              <mc:Fallback>
                <p:oleObj name="Document" r:id="rId3" imgW="5732708" imgH="2116516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648" y="2074462"/>
                        <a:ext cx="12082463" cy="4801148"/>
                      </a:xfrm>
                      <a:prstGeom prst="rect">
                        <a:avLst/>
                      </a:prstGeom>
                      <a:solidFill>
                        <a:schemeClr val="accent1">
                          <a:lumMod val="20000"/>
                          <a:lumOff val="80000"/>
                        </a:schemeClr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/>
          <a:srcRect l="50986" t="43416" r="897" b="27411"/>
          <a:stretch/>
        </p:blipFill>
        <p:spPr>
          <a:xfrm rot="20691449">
            <a:off x="-35980" y="71018"/>
            <a:ext cx="5207886" cy="177514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35038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https://ccsfundraising.files.wordpress.com/2014/03/469567981.jp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6795" b="89873" l="3848" r="97501">
                        <a14:foregroundMark x1="26187" y1="49900" x2="26187" y2="49900"/>
                        <a14:foregroundMark x1="26287" y1="46835" x2="26287" y2="46835"/>
                        <a14:foregroundMark x1="26887" y1="44104" x2="26887" y2="44104"/>
                        <a14:foregroundMark x1="26087" y1="39174" x2="26087" y2="39174"/>
                        <a14:foregroundMark x1="22389" y1="59827" x2="22389" y2="59827"/>
                        <a14:foregroundMark x1="31334" y1="59027" x2="31334" y2="59027"/>
                        <a14:foregroundMark x1="34133" y1="57828" x2="34133" y2="57828"/>
                        <a14:foregroundMark x1="34933" y1="56429" x2="34933" y2="56429"/>
                        <a14:foregroundMark x1="35382" y1="58161" x2="35382" y2="58161"/>
                        <a14:foregroundMark x1="33133" y1="59161" x2="33133" y2="59161"/>
                        <a14:foregroundMark x1="7146" y1="77815" x2="7146" y2="77815"/>
                        <a14:foregroundMark x1="29885" y1="57828" x2="29885" y2="5782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1" y="-532263"/>
            <a:ext cx="12192000" cy="798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smtClean="0"/>
              <a:t>Issues &amp; challenges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MY" smtClean="0"/>
              <a:t>In curriculum reform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878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89245565"/>
              </p:ext>
            </p:extLst>
          </p:nvPr>
        </p:nvGraphicFramePr>
        <p:xfrm>
          <a:off x="-454155" y="1464194"/>
          <a:ext cx="6379594" cy="53938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ight Arrow 2"/>
          <p:cNvSpPr/>
          <p:nvPr/>
        </p:nvSpPr>
        <p:spPr>
          <a:xfrm>
            <a:off x="5714424" y="3223913"/>
            <a:ext cx="1600777" cy="352953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32531588"/>
              </p:ext>
            </p:extLst>
          </p:nvPr>
        </p:nvGraphicFramePr>
        <p:xfrm>
          <a:off x="8134696" y="1902179"/>
          <a:ext cx="3710301" cy="29964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916898289"/>
              </p:ext>
            </p:extLst>
          </p:nvPr>
        </p:nvGraphicFramePr>
        <p:xfrm>
          <a:off x="7556953" y="400304"/>
          <a:ext cx="2698396" cy="1501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3836493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AA0D996-7AF3-4974-AF40-1F56F34A244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graphicEl>
                                              <a:dgm id="{7AA0D996-7AF3-4974-AF40-1F56F34A244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3EE1EA68-24C1-4103-8E91-F802B5E569E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>
                                            <p:graphicEl>
                                              <a:dgm id="{3EE1EA68-24C1-4103-8E91-F802B5E569E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E0EB5CD2-C52F-4700-B250-D01157ABF28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">
                                            <p:graphicEl>
                                              <a:dgm id="{E0EB5CD2-C52F-4700-B250-D01157ABF28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29E2DE1-CE7E-4EF0-9DFF-365F8063D95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>
                                            <p:graphicEl>
                                              <a:dgm id="{829E2DE1-CE7E-4EF0-9DFF-365F8063D95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2219519-8B37-47F3-9A6A-06FE019FB5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">
                                            <p:graphicEl>
                                              <a:dgm id="{02219519-8B37-47F3-9A6A-06FE019FB57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C5838614-F7E9-4930-B0FA-91DE2B48F8C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">
                                            <p:graphicEl>
                                              <a:dgm id="{C5838614-F7E9-4930-B0FA-91DE2B48F8C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5A6C45F-33B4-4B8B-A948-F1C1D02C991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">
                                            <p:graphicEl>
                                              <a:dgm id="{45A6C45F-33B4-4B8B-A948-F1C1D02C991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667A035-1547-4863-8EF3-AA19EF51D22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">
                                            <p:graphicEl>
                                              <a:dgm id="{8667A035-1547-4863-8EF3-AA19EF51D22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A00C8928-44FF-4DF3-81E7-EF69B0813DF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">
                                            <p:graphicEl>
                                              <a:dgm id="{A00C8928-44FF-4DF3-81E7-EF69B0813DF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430110A-5A8D-4E64-89B2-09A545D9BA2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">
                                            <p:graphicEl>
                                              <a:dgm id="{D430110A-5A8D-4E64-89B2-09A545D9BA2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6F8AD650-60B4-4948-A1CA-5D4A181EFA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">
                                            <p:graphicEl>
                                              <a:dgm id="{6F8AD650-60B4-4948-A1CA-5D4A181EFAC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Dgm bld="lvlAtOnce"/>
        </p:bldSub>
      </p:bldGraphic>
      <p:bldP spid="3" grpId="0" animBg="1"/>
      <p:bldGraphic spid="4" grpId="0">
        <p:bldAsOne/>
      </p:bldGraphic>
      <p:bldGraphic spid="7" grpId="0">
        <p:bldAsOne/>
      </p:bldGraphic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ChangeArrowheads="1"/>
          </p:cNvSpPr>
          <p:nvPr/>
        </p:nvSpPr>
        <p:spPr bwMode="auto">
          <a:xfrm>
            <a:off x="1981038" y="1"/>
            <a:ext cx="8229924" cy="1015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2959" b="1" smtClean="0">
                <a:cs typeface="Arial" panose="020B0604020202020204" pitchFamily="34" charset="0"/>
              </a:rPr>
              <a:t>Average Score</a:t>
            </a:r>
            <a:r>
              <a:rPr lang="en-US" altLang="en-US" sz="2959" b="1">
                <a:cs typeface="Arial" panose="020B0604020202020204" pitchFamily="34" charset="0"/>
              </a:rPr>
              <a:t/>
            </a:r>
            <a:br>
              <a:rPr lang="en-US" altLang="en-US" sz="2959" b="1">
                <a:cs typeface="Arial" panose="020B0604020202020204" pitchFamily="34" charset="0"/>
              </a:rPr>
            </a:br>
            <a:r>
              <a:rPr lang="en-US" altLang="en-US" sz="2959" b="1">
                <a:cs typeface="Arial" panose="020B0604020202020204" pitchFamily="34" charset="0"/>
              </a:rPr>
              <a:t>TIMSS 1999, 2003, 2007 dan 2011</a:t>
            </a:r>
            <a:endParaRPr lang="en-GB" altLang="en-US" sz="2959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705749"/>
              </p:ext>
            </p:extLst>
          </p:nvPr>
        </p:nvGraphicFramePr>
        <p:xfrm>
          <a:off x="0" y="1142999"/>
          <a:ext cx="5973169" cy="6445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9800656"/>
              </p:ext>
            </p:extLst>
          </p:nvPr>
        </p:nvGraphicFramePr>
        <p:xfrm>
          <a:off x="5973170" y="1143000"/>
          <a:ext cx="6218830" cy="5715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1288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248013396"/>
              </p:ext>
            </p:extLst>
          </p:nvPr>
        </p:nvGraphicFramePr>
        <p:xfrm>
          <a:off x="0" y="0"/>
          <a:ext cx="12192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>
          <a:xfrm rot="19149130">
            <a:off x="-172257" y="332679"/>
            <a:ext cx="1925053" cy="618014"/>
          </a:xfrm>
          <a:prstGeom prst="rect">
            <a:avLst/>
          </a:prstGeom>
          <a:solidFill>
            <a:srgbClr val="FF0000"/>
          </a:solidFill>
          <a:ln w="38100"/>
        </p:spPr>
        <p:txBody>
          <a:bodyPr vert="horz" anchor="ctr">
            <a:normAutofit lnSpcReduction="10000"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defRPr/>
            </a:pPr>
            <a:r>
              <a:rPr lang="en-US" sz="3600" b="1" kern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TIMSS</a:t>
            </a:r>
            <a:endParaRPr lang="en-MY" sz="3600" b="1" kern="0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648769" y="5011673"/>
            <a:ext cx="1925053" cy="290326"/>
          </a:xfrm>
          <a:prstGeom prst="rect">
            <a:avLst/>
          </a:prstGeom>
          <a:solidFill>
            <a:srgbClr val="FF0000"/>
          </a:solidFill>
          <a:ln w="38100"/>
        </p:spPr>
        <p:txBody>
          <a:bodyPr vert="horz" anchor="ctr">
            <a:normAutofit fontScale="77500" lnSpcReduction="20000"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defRPr/>
            </a:pPr>
            <a:r>
              <a:rPr lang="en-US" sz="2000" b="1" kern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Low</a:t>
            </a:r>
            <a:endParaRPr lang="en-MY" sz="3600" b="1" kern="0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648769" y="2480325"/>
            <a:ext cx="1925053" cy="290326"/>
          </a:xfrm>
          <a:prstGeom prst="rect">
            <a:avLst/>
          </a:prstGeom>
          <a:solidFill>
            <a:srgbClr val="03AD07"/>
          </a:solidFill>
          <a:ln w="38100"/>
        </p:spPr>
        <p:txBody>
          <a:bodyPr vert="horz" anchor="ctr">
            <a:normAutofit fontScale="77500" lnSpcReduction="20000"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defRPr/>
            </a:pPr>
            <a:r>
              <a:rPr lang="en-US" sz="2000" b="1" kern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High</a:t>
            </a:r>
            <a:endParaRPr lang="en-MY" sz="3600" b="1" kern="0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648769" y="3745999"/>
            <a:ext cx="1925053" cy="290326"/>
          </a:xfrm>
          <a:prstGeom prst="rect">
            <a:avLst/>
          </a:prstGeom>
          <a:solidFill>
            <a:srgbClr val="FFFF00"/>
          </a:solidFill>
          <a:ln w="38100"/>
        </p:spPr>
        <p:txBody>
          <a:bodyPr vert="horz" anchor="ctr">
            <a:normAutofit fontScale="77500" lnSpcReduction="20000"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defRPr/>
            </a:pPr>
            <a:r>
              <a:rPr lang="en-US" sz="2000" b="1" kern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Intermediate</a:t>
            </a:r>
            <a:endParaRPr lang="en-MY" sz="3600" b="1" kern="0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648768" y="6277347"/>
            <a:ext cx="1925053" cy="290326"/>
          </a:xfrm>
          <a:prstGeom prst="rect">
            <a:avLst/>
          </a:prstGeom>
          <a:solidFill>
            <a:srgbClr val="FF0000"/>
          </a:solidFill>
          <a:ln w="38100"/>
        </p:spPr>
        <p:txBody>
          <a:bodyPr vert="horz" anchor="ctr">
            <a:normAutofit fontScale="77500" lnSpcReduction="20000"/>
          </a:bodyPr>
          <a:lstStyle>
            <a:lvl1pPr marL="349861" indent="-349861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  <a:defRPr sz="1632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sz="1632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defRPr sz="1632">
                <a:solidFill>
                  <a:schemeClr val="tx1"/>
                </a:solidFill>
                <a:latin typeface="+mn-lt"/>
              </a:defRPr>
            </a:lvl4pPr>
            <a:lvl5pPr marL="761271" indent="-132818" algn="l" defTabSz="913526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5pPr>
            <a:lvl6pPr marL="1227752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6pPr>
            <a:lvl7pPr marL="1694234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7pPr>
            <a:lvl8pPr marL="2160715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8pPr>
            <a:lvl9pPr marL="2627196" indent="-132818" algn="l" defTabSz="913526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32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>
              <a:defRPr/>
            </a:pPr>
            <a:r>
              <a:rPr lang="en-US" sz="2000" b="1" kern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Below minimum</a:t>
            </a:r>
            <a:endParaRPr lang="en-MY" sz="3600" b="1" kern="0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68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Text Box 5"/>
          <p:cNvSpPr txBox="1">
            <a:spLocks noChangeArrowheads="1"/>
          </p:cNvSpPr>
          <p:nvPr/>
        </p:nvSpPr>
        <p:spPr bwMode="auto">
          <a:xfrm>
            <a:off x="2207802" y="2275743"/>
            <a:ext cx="7632238" cy="34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endParaRPr lang="en-US" altLang="en-US" sz="1632"/>
          </a:p>
        </p:txBody>
      </p:sp>
      <p:cxnSp>
        <p:nvCxnSpPr>
          <p:cNvPr id="12" name="Straight Connector 11"/>
          <p:cNvCxnSpPr/>
          <p:nvPr/>
        </p:nvCxnSpPr>
        <p:spPr>
          <a:xfrm>
            <a:off x="3863182" y="2397223"/>
            <a:ext cx="2233629" cy="0"/>
          </a:xfrm>
          <a:prstGeom prst="line">
            <a:avLst/>
          </a:prstGeom>
          <a:ln w="34925">
            <a:solidFill>
              <a:srgbClr val="FF00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6096810" y="1619745"/>
            <a:ext cx="2232009" cy="0"/>
          </a:xfrm>
          <a:prstGeom prst="line">
            <a:avLst/>
          </a:prstGeom>
          <a:ln w="3492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0312342"/>
              </p:ext>
            </p:extLst>
          </p:nvPr>
        </p:nvGraphicFramePr>
        <p:xfrm>
          <a:off x="0" y="0"/>
          <a:ext cx="12175290" cy="68580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798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67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828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Shanghai-China - 613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Singapore - 573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Hong Kong-China - 561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Chinese Taipei - 560</a:t>
                      </a:r>
                    </a:p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Korea - 554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Macao-China - 538</a:t>
                      </a:r>
                      <a:endParaRPr lang="en-US" sz="1600" b="1" baseline="0" dirty="0" smtClean="0"/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Japan - 536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Liechtenstein - 535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Switzerland - 531</a:t>
                      </a:r>
                      <a:endParaRPr lang="en-US" sz="1600" b="1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Netherlands – 523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Estonia - 521</a:t>
                      </a:r>
                      <a:endParaRPr lang="en-US" sz="1600" b="1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/>
                        <a:t> Finland - 519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</a:t>
                      </a:r>
                      <a:r>
                        <a:rPr lang="en-US" sz="1600" b="1" dirty="0" smtClean="0"/>
                        <a:t>Canada – 518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Poland - 518</a:t>
                      </a:r>
                      <a:r>
                        <a:rPr lang="en-US" sz="1600" b="1" dirty="0" smtClean="0"/>
                        <a:t> 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Belgium - 515</a:t>
                      </a:r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</a:t>
                      </a:r>
                      <a:r>
                        <a:rPr lang="en-US" sz="1600" b="1" dirty="0" smtClean="0"/>
                        <a:t>Germany- 514</a:t>
                      </a:r>
                      <a:endParaRPr lang="en-US" sz="1600" b="1" baseline="0" dirty="0" smtClean="0"/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Viet Nam – 511</a:t>
                      </a:r>
                      <a:endParaRPr lang="en-US" sz="1600" b="1" baseline="0" dirty="0" smtClean="0"/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</a:t>
                      </a:r>
                      <a:r>
                        <a:rPr lang="en-US" sz="1600" b="1" dirty="0" smtClean="0"/>
                        <a:t>Austria - 506</a:t>
                      </a:r>
                      <a:endParaRPr lang="en-US" sz="1600" b="1" baseline="0" dirty="0" smtClean="0"/>
                    </a:p>
                    <a:p>
                      <a:pPr marL="231775" marR="0" indent="-2317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600" b="1" baseline="0" dirty="0" smtClean="0"/>
                        <a:t> Australia - 504</a:t>
                      </a:r>
                    </a:p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/>
                        <a:t> Ireland – 501</a:t>
                      </a:r>
                    </a:p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/>
                        <a:t> Slovenia – 501</a:t>
                      </a:r>
                    </a:p>
                    <a:p>
                      <a:pPr marL="231775" indent="-231775">
                        <a:spcAft>
                          <a:spcPts val="450"/>
                        </a:spcAft>
                        <a:buAutoNum type="arabicPeriod"/>
                      </a:pPr>
                      <a:r>
                        <a:rPr lang="en-US" sz="1600" b="1" dirty="0" smtClean="0"/>
                        <a:t> Denmark – 500</a:t>
                      </a:r>
                    </a:p>
                  </a:txBody>
                  <a:tcPr marL="91432" marR="91432" marT="45718" marB="4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 typeface="+mj-lt"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New</a:t>
                      </a:r>
                      <a:r>
                        <a:rPr lang="en-US" sz="1600" b="1" baseline="0" dirty="0" smtClean="0"/>
                        <a:t> Zealand – 500</a:t>
                      </a:r>
                      <a:endParaRPr lang="en-US" sz="1600" b="1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Czech Republic – 499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France - 495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U Kingdom- 494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baseline="0" dirty="0" smtClean="0"/>
                        <a:t>Iceland - 493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Latvia - 491</a:t>
                      </a:r>
                      <a:endParaRPr lang="en-US" sz="1600" b="1" baseline="0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Luxembourg - 490</a:t>
                      </a:r>
                      <a:endParaRPr lang="en-US" sz="1600" b="1" baseline="0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baseline="0" dirty="0" smtClean="0"/>
                        <a:t>Norway - 489</a:t>
                      </a:r>
                      <a:endParaRPr lang="en-US" sz="1600" b="1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Portugal - 487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Italy</a:t>
                      </a:r>
                      <a:r>
                        <a:rPr lang="en-US" sz="1600" b="1" baseline="0" dirty="0" smtClean="0"/>
                        <a:t> - 485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Spain - 484</a:t>
                      </a:r>
                      <a:endParaRPr lang="en-US" sz="1600" b="1" baseline="0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Russian</a:t>
                      </a:r>
                      <a:r>
                        <a:rPr lang="en-US" sz="1600" b="1" baseline="0" dirty="0" smtClean="0"/>
                        <a:t> Fed. – 482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Slovak Republic – 482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baseline="0" dirty="0" smtClean="0"/>
                        <a:t>United States – 481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Lithuania - 479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baseline="0" dirty="0" smtClean="0"/>
                        <a:t>Sweden - 478</a:t>
                      </a:r>
                      <a:endParaRPr lang="en-US" sz="1600" b="1" dirty="0" smtClean="0"/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23"/>
                      </a:pPr>
                      <a:r>
                        <a:rPr lang="en-US" sz="1600" b="1" dirty="0" smtClean="0"/>
                        <a:t>Hungary - 477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23"/>
                        <a:tabLst/>
                        <a:defRPr/>
                      </a:pPr>
                      <a:r>
                        <a:rPr lang="en-US" sz="1600" b="1" dirty="0" smtClean="0"/>
                        <a:t>Croatia – 471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1"/>
                        <a:tabLst/>
                        <a:defRPr/>
                      </a:pPr>
                      <a:r>
                        <a:rPr lang="en-US" sz="1600" b="1" dirty="0" smtClean="0"/>
                        <a:t>Israel – 466</a:t>
                      </a:r>
                      <a:endParaRPr lang="en-US" sz="1600" b="1" baseline="0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1"/>
                        <a:tabLst/>
                        <a:defRPr/>
                      </a:pPr>
                      <a:r>
                        <a:rPr lang="en-US" sz="1600" b="1" dirty="0" smtClean="0"/>
                        <a:t>Greece - 453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1"/>
                        <a:tabLst/>
                        <a:defRPr/>
                      </a:pPr>
                      <a:r>
                        <a:rPr lang="en-US" sz="1600" b="1" baseline="0" dirty="0" smtClean="0"/>
                        <a:t>Serbia – 449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1"/>
                        <a:tabLst/>
                        <a:defRPr/>
                      </a:pPr>
                      <a:r>
                        <a:rPr lang="en-US" sz="1600" b="1" dirty="0" smtClean="0"/>
                        <a:t>Turkey - 448</a:t>
                      </a:r>
                    </a:p>
                  </a:txBody>
                  <a:tcPr marL="91432" marR="91432" marT="45718" marB="4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342900">
                        <a:spcAft>
                          <a:spcPts val="450"/>
                        </a:spcAft>
                        <a:buFont typeface="+mj-lt"/>
                        <a:buAutoNum type="arabicPeriod" startAt="45"/>
                      </a:pPr>
                      <a:r>
                        <a:rPr lang="en-US" sz="1600" b="1" baseline="0" dirty="0" smtClean="0"/>
                        <a:t>Romania – 445</a:t>
                      </a:r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45"/>
                      </a:pPr>
                      <a:r>
                        <a:rPr lang="en-US" sz="1600" b="1" baseline="0" dirty="0" smtClean="0"/>
                        <a:t>Cyprus – 440</a:t>
                      </a:r>
                      <a:endParaRPr lang="en-US" sz="1600" b="1" baseline="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/>
                        <a:t>Bulgaria – 439</a:t>
                      </a:r>
                      <a:endParaRPr lang="en-US" sz="1600" b="1" baseline="0" dirty="0" smtClean="0">
                        <a:solidFill>
                          <a:schemeClr val="bg2">
                            <a:lumMod val="50000"/>
                          </a:schemeClr>
                        </a:solidFill>
                      </a:endParaRP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UAE – 434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Kazakhstan – 432</a:t>
                      </a:r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45"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Thailand – 427</a:t>
                      </a:r>
                      <a:endParaRPr lang="en-US" sz="1600" b="1" baseline="0" dirty="0" smtClean="0"/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45"/>
                      </a:pPr>
                      <a:r>
                        <a:rPr lang="en-US" sz="1600" b="1" baseline="0" dirty="0" smtClean="0"/>
                        <a:t>Chile – 423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rgbClr val="FF0000"/>
                          </a:solidFill>
                        </a:rPr>
                        <a:t>MALAYSIA - 421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/>
                        <a:t>Mexico – 413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/>
                        <a:t>Montenegro – 410</a:t>
                      </a:r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45"/>
                      </a:pPr>
                      <a:r>
                        <a:rPr lang="en-US" sz="1600" b="1" baseline="0" dirty="0" smtClean="0"/>
                        <a:t>Uruguay – 409</a:t>
                      </a:r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45"/>
                      </a:pPr>
                      <a:r>
                        <a:rPr lang="en-US" sz="1600" b="1" baseline="0" dirty="0" smtClean="0"/>
                        <a:t>Costa Rica – 407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/>
                        <a:t>Albania – 394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baseline="0" dirty="0" smtClean="0"/>
                        <a:t>Brazil – 391</a:t>
                      </a:r>
                      <a:endParaRPr lang="en-US" sz="1600" b="1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dirty="0" smtClean="0"/>
                        <a:t>Argentina</a:t>
                      </a:r>
                      <a:r>
                        <a:rPr lang="en-US" sz="1600" b="1" baseline="0" dirty="0" smtClean="0"/>
                        <a:t> – 388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45"/>
                        <a:tabLst/>
                        <a:defRPr/>
                      </a:pPr>
                      <a:r>
                        <a:rPr lang="en-US" sz="1600" b="1" dirty="0" smtClean="0"/>
                        <a:t>Tunisia – 388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61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Jordan - 386</a:t>
                      </a:r>
                      <a:endParaRPr lang="en-US" sz="1600" b="1" baseline="0" dirty="0" smtClean="0"/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61"/>
                        <a:tabLst/>
                        <a:defRPr/>
                      </a:pPr>
                      <a:r>
                        <a:rPr lang="en-US" sz="1600" b="1" baseline="0" dirty="0" smtClean="0"/>
                        <a:t>Colombia – 376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61"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Qatar – 376</a:t>
                      </a:r>
                      <a:endParaRPr lang="en-US" sz="1600" b="1" baseline="0" dirty="0" smtClean="0"/>
                    </a:p>
                    <a:p>
                      <a:pPr marL="290513" indent="-290513">
                        <a:spcAft>
                          <a:spcPts val="450"/>
                        </a:spcAft>
                        <a:buAutoNum type="arabicPeriod" startAt="61"/>
                      </a:pPr>
                      <a:r>
                        <a:rPr lang="en-US" sz="1600" b="1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a:t>Indonesia – 375</a:t>
                      </a:r>
                    </a:p>
                    <a:p>
                      <a:pPr marL="290513" marR="0" indent="-2905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450"/>
                        </a:spcAft>
                        <a:buClrTx/>
                        <a:buSzTx/>
                        <a:buFontTx/>
                        <a:buAutoNum type="arabicPeriod" startAt="61"/>
                        <a:tabLst/>
                        <a:defRPr/>
                      </a:pPr>
                      <a:r>
                        <a:rPr lang="en-US" sz="1600" b="1" baseline="0" dirty="0" smtClean="0"/>
                        <a:t>Peru – 368</a:t>
                      </a:r>
                      <a:endParaRPr lang="en-US" sz="1600" b="1" dirty="0" smtClean="0"/>
                    </a:p>
                  </a:txBody>
                  <a:tcPr marL="91432" marR="91432" marT="45718" marB="4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2531" name="Rectangle 3"/>
          <p:cNvSpPr>
            <a:spLocks noGrp="1" noChangeArrowheads="1"/>
          </p:cNvSpPr>
          <p:nvPr>
            <p:ph type="subTitle" idx="1"/>
          </p:nvPr>
        </p:nvSpPr>
        <p:spPr>
          <a:xfrm rot="5400000">
            <a:off x="8245446" y="2911447"/>
            <a:ext cx="6857998" cy="1035108"/>
          </a:xfrm>
          <a:solidFill>
            <a:srgbClr val="FF0000"/>
          </a:solidFill>
          <a:ln w="38100"/>
        </p:spPr>
        <p:txBody>
          <a:bodyPr vert="horz" anchor="ctr">
            <a:normAutofit/>
          </a:bodyPr>
          <a:lstStyle/>
          <a:p>
            <a:pPr algn="ctr" eaLnBrk="1" hangingPunct="1">
              <a:defRPr/>
            </a:pPr>
            <a:r>
              <a:rPr lang="en-US" sz="3600" b="1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pitchFamily="34" charset="0"/>
              </a:rPr>
              <a:t>PISA 2012</a:t>
            </a:r>
            <a:endParaRPr lang="en-MY" sz="3600" b="1" dirty="0">
              <a:effectLst>
                <a:outerShdw blurRad="38100" dist="38100" dir="2700000" algn="tl">
                  <a:srgbClr val="FFFFFF"/>
                </a:outerShdw>
              </a:effectLst>
              <a:cs typeface="Arial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4420373" y="1231311"/>
            <a:ext cx="16764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4155535" y="5798466"/>
            <a:ext cx="1676437" cy="0"/>
          </a:xfrm>
          <a:prstGeom prst="line">
            <a:avLst/>
          </a:prstGeom>
          <a:ln w="38100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71" name="TextBox 1"/>
          <p:cNvSpPr txBox="1">
            <a:spLocks noChangeArrowheads="1"/>
          </p:cNvSpPr>
          <p:nvPr/>
        </p:nvSpPr>
        <p:spPr bwMode="auto">
          <a:xfrm>
            <a:off x="6096810" y="967292"/>
            <a:ext cx="1674816" cy="540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MY" altLang="en-US" sz="1428" b="1">
                <a:solidFill>
                  <a:schemeClr val="accent2"/>
                </a:solidFill>
              </a:rPr>
              <a:t>OECD</a:t>
            </a:r>
          </a:p>
          <a:p>
            <a:pPr eaLnBrk="1" hangingPunct="1"/>
            <a:r>
              <a:rPr lang="en-MY" altLang="en-US" sz="1428" b="1">
                <a:solidFill>
                  <a:schemeClr val="accent2"/>
                </a:solidFill>
              </a:rPr>
              <a:t>Ave - 494</a:t>
            </a:r>
          </a:p>
        </p:txBody>
      </p:sp>
      <p:sp>
        <p:nvSpPr>
          <p:cNvPr id="23572" name="TextBox 14"/>
          <p:cNvSpPr txBox="1">
            <a:spLocks noChangeArrowheads="1"/>
          </p:cNvSpPr>
          <p:nvPr/>
        </p:nvSpPr>
        <p:spPr bwMode="auto">
          <a:xfrm>
            <a:off x="5831972" y="5510151"/>
            <a:ext cx="1674816" cy="5407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MY" altLang="en-US" sz="1428" b="1">
                <a:solidFill>
                  <a:srgbClr val="7030A0"/>
                </a:solidFill>
              </a:rPr>
              <a:t>International </a:t>
            </a:r>
          </a:p>
          <a:p>
            <a:pPr eaLnBrk="1" hangingPunct="1"/>
            <a:r>
              <a:rPr lang="en-MY" altLang="en-US" sz="1428" b="1">
                <a:solidFill>
                  <a:srgbClr val="7030A0"/>
                </a:solidFill>
              </a:rPr>
              <a:t>Ave - 456</a:t>
            </a:r>
          </a:p>
        </p:txBody>
      </p:sp>
    </p:spTree>
    <p:extLst>
      <p:ext uri="{BB962C8B-B14F-4D97-AF65-F5344CB8AC3E}">
        <p14:creationId xmlns:p14="http://schemas.microsoft.com/office/powerpoint/2010/main" val="288501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://js.helpfoundation.pk/images/Icons/Developmental_Initiativ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MY" smtClean="0"/>
              <a:t>Curriculum developm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771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5245" t="21402" r="2389" b="1816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2351020"/>
              </p:ext>
            </p:extLst>
          </p:nvPr>
        </p:nvGraphicFramePr>
        <p:xfrm>
          <a:off x="759655" y="140677"/>
          <a:ext cx="10213145" cy="36998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Rectangle 4"/>
          <p:cNvSpPr/>
          <p:nvPr/>
        </p:nvSpPr>
        <p:spPr>
          <a:xfrm>
            <a:off x="2712766" y="6135117"/>
            <a:ext cx="6766468" cy="523220"/>
          </a:xfrm>
          <a:prstGeom prst="rect">
            <a:avLst/>
          </a:prstGeom>
          <a:solidFill>
            <a:srgbClr val="FFFF00"/>
          </a:solidFill>
        </p:spPr>
        <p:txBody>
          <a:bodyPr wrap="none">
            <a:spAutoFit/>
          </a:bodyPr>
          <a:lstStyle/>
          <a:p>
            <a:r>
              <a:rPr lang="en-US" sz="2800" smtClean="0">
                <a:ea typeface="Times New Roman" panose="02020603050405020304" pitchFamily="18" charset="0"/>
              </a:rPr>
              <a:t>…high </a:t>
            </a:r>
            <a:r>
              <a:rPr lang="en-US" sz="2800">
                <a:ea typeface="Times New Roman" panose="02020603050405020304" pitchFamily="18" charset="0"/>
              </a:rPr>
              <a:t>in </a:t>
            </a:r>
            <a:r>
              <a:rPr lang="en-US" sz="2800">
                <a:solidFill>
                  <a:srgbClr val="FF0000"/>
                </a:solidFill>
                <a:ea typeface="Times New Roman" panose="02020603050405020304" pitchFamily="18" charset="0"/>
              </a:rPr>
              <a:t>equality</a:t>
            </a:r>
            <a:r>
              <a:rPr lang="en-US" sz="2800">
                <a:ea typeface="Times New Roman" panose="02020603050405020304" pitchFamily="18" charset="0"/>
              </a:rPr>
              <a:t>, but lack in </a:t>
            </a:r>
            <a:r>
              <a:rPr lang="en-US" sz="2800">
                <a:solidFill>
                  <a:srgbClr val="FF0000"/>
                </a:solidFill>
                <a:ea typeface="Times New Roman" panose="02020603050405020304" pitchFamily="18" charset="0"/>
              </a:rPr>
              <a:t>equity</a:t>
            </a:r>
            <a:r>
              <a:rPr lang="en-US" sz="2800">
                <a:ea typeface="Times New Roman" panose="02020603050405020304" pitchFamily="18" charset="0"/>
              </a:rPr>
              <a:t> of access</a:t>
            </a:r>
            <a:endParaRPr lang="en-US" sz="2800"/>
          </a:p>
        </p:txBody>
      </p:sp>
      <p:sp>
        <p:nvSpPr>
          <p:cNvPr id="6" name="Rectangle 5"/>
          <p:cNvSpPr/>
          <p:nvPr/>
        </p:nvSpPr>
        <p:spPr>
          <a:xfrm>
            <a:off x="332981" y="5149839"/>
            <a:ext cx="8685391" cy="523220"/>
          </a:xfrm>
          <a:prstGeom prst="rect">
            <a:avLst/>
          </a:prstGeom>
          <a:solidFill>
            <a:srgbClr val="FFFF00"/>
          </a:solidFill>
        </p:spPr>
        <p:txBody>
          <a:bodyPr wrap="none">
            <a:spAutoFit/>
          </a:bodyPr>
          <a:lstStyle/>
          <a:p>
            <a:r>
              <a:rPr lang="en-US" sz="2800" smtClean="0"/>
              <a:t>…</a:t>
            </a:r>
            <a:r>
              <a:rPr lang="en-US" sz="2800" smtClean="0">
                <a:solidFill>
                  <a:srgbClr val="FF0000"/>
                </a:solidFill>
              </a:rPr>
              <a:t>girls</a:t>
            </a:r>
            <a:r>
              <a:rPr lang="en-US" sz="2800" smtClean="0"/>
              <a:t> </a:t>
            </a:r>
            <a:r>
              <a:rPr lang="en-US" sz="2800"/>
              <a:t>do better than </a:t>
            </a:r>
            <a:r>
              <a:rPr lang="en-US" sz="2800">
                <a:solidFill>
                  <a:srgbClr val="FF0000"/>
                </a:solidFill>
              </a:rPr>
              <a:t>boys</a:t>
            </a:r>
            <a:r>
              <a:rPr lang="en-US" sz="2800"/>
              <a:t> in almost all academic subjects</a:t>
            </a:r>
            <a:endParaRPr lang="en-US" sz="4000"/>
          </a:p>
        </p:txBody>
      </p:sp>
      <p:sp>
        <p:nvSpPr>
          <p:cNvPr id="7" name="Rectangle 6"/>
          <p:cNvSpPr/>
          <p:nvPr/>
        </p:nvSpPr>
        <p:spPr>
          <a:xfrm>
            <a:off x="0" y="4202445"/>
            <a:ext cx="12271671" cy="523220"/>
          </a:xfrm>
          <a:prstGeom prst="rect">
            <a:avLst/>
          </a:prstGeom>
          <a:solidFill>
            <a:srgbClr val="FFFF00"/>
          </a:solidFill>
        </p:spPr>
        <p:txBody>
          <a:bodyPr wrap="square">
            <a:spAutoFit/>
          </a:bodyPr>
          <a:lstStyle/>
          <a:p>
            <a:r>
              <a:rPr lang="en-US" sz="2800">
                <a:ea typeface="Times New Roman" panose="02020603050405020304" pitchFamily="18" charset="0"/>
              </a:rPr>
              <a:t>students from </a:t>
            </a:r>
            <a:r>
              <a:rPr lang="en-US" sz="2800">
                <a:solidFill>
                  <a:srgbClr val="FF0000"/>
                </a:solidFill>
                <a:ea typeface="Times New Roman" panose="02020603050405020304" pitchFamily="18" charset="0"/>
              </a:rPr>
              <a:t>high-income</a:t>
            </a:r>
            <a:r>
              <a:rPr lang="en-US" sz="2800">
                <a:ea typeface="Times New Roman" panose="02020603050405020304" pitchFamily="18" charset="0"/>
              </a:rPr>
              <a:t> families do better than those from </a:t>
            </a:r>
            <a:r>
              <a:rPr lang="en-US" sz="2800">
                <a:solidFill>
                  <a:srgbClr val="FF0000"/>
                </a:solidFill>
                <a:ea typeface="Times New Roman" panose="02020603050405020304" pitchFamily="18" charset="0"/>
              </a:rPr>
              <a:t>low-income</a:t>
            </a:r>
            <a:r>
              <a:rPr lang="en-US" sz="2800">
                <a:ea typeface="Times New Roman" panose="02020603050405020304" pitchFamily="18" charset="0"/>
              </a:rPr>
              <a:t> families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3215610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737252649"/>
              </p:ext>
            </p:extLst>
          </p:nvPr>
        </p:nvGraphicFramePr>
        <p:xfrm>
          <a:off x="232011" y="122829"/>
          <a:ext cx="11327643" cy="61414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65271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180AED5-3636-4056-9F81-3819AB4F952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F338B9AB-7205-499D-8A54-DDB0425C08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F998B822-FE5E-464A-842F-2C66B19DBC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40A3AAE2-09E8-4589-BD57-2577130FC97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2D1CCC2-B74E-434B-B4E6-44ED5F239B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6" name="Picture 6" descr="http://skseremban2a.files.wordpress.com/2013/01/cropped-740577_327967573985230_2109185073_o.jp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Sketch trans="5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83077" y="-126999"/>
            <a:ext cx="13205034" cy="698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801135" y="3290957"/>
            <a:ext cx="6413500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MY" sz="4000" smtClean="0"/>
              <a:t>School-Based Assessment</a:t>
            </a:r>
            <a:endParaRPr lang="en-US" sz="4000"/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2513954908"/>
              </p:ext>
            </p:extLst>
          </p:nvPr>
        </p:nvGraphicFramePr>
        <p:xfrm>
          <a:off x="-508000" y="660401"/>
          <a:ext cx="5901813" cy="6286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Rectangle 10"/>
          <p:cNvSpPr/>
          <p:nvPr/>
        </p:nvSpPr>
        <p:spPr>
          <a:xfrm>
            <a:off x="5801135" y="4128066"/>
            <a:ext cx="6413500" cy="224676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en-US" sz="280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to evaluate their students formatively and summatively by collecting evidence through various means such as homework, students’ presentation, project work, paper-and-pencil test, and so on. </a:t>
            </a:r>
            <a:endParaRPr lang="en-US" sz="2800"/>
          </a:p>
        </p:txBody>
      </p:sp>
      <p:sp>
        <p:nvSpPr>
          <p:cNvPr id="9" name="TextBox 8"/>
          <p:cNvSpPr txBox="1"/>
          <p:nvPr/>
        </p:nvSpPr>
        <p:spPr>
          <a:xfrm>
            <a:off x="3403600" y="139700"/>
            <a:ext cx="6172200" cy="830997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MY" sz="4800" smtClean="0"/>
              <a:t>High Stake Assessment</a:t>
            </a:r>
            <a:endParaRPr lang="en-US" sz="4800"/>
          </a:p>
        </p:txBody>
      </p:sp>
      <p:sp>
        <p:nvSpPr>
          <p:cNvPr id="10" name="TextBox 9"/>
          <p:cNvSpPr txBox="1"/>
          <p:nvPr/>
        </p:nvSpPr>
        <p:spPr>
          <a:xfrm>
            <a:off x="117639" y="5840622"/>
            <a:ext cx="972024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Y6</a:t>
            </a:r>
            <a:endParaRPr lang="en-US" sz="3600"/>
          </a:p>
        </p:txBody>
      </p:sp>
      <p:sp>
        <p:nvSpPr>
          <p:cNvPr id="13" name="TextBox 12"/>
          <p:cNvSpPr txBox="1"/>
          <p:nvPr/>
        </p:nvSpPr>
        <p:spPr>
          <a:xfrm>
            <a:off x="139627" y="1022915"/>
            <a:ext cx="972024" cy="7078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Y13</a:t>
            </a:r>
            <a:endParaRPr lang="en-US" sz="3600"/>
          </a:p>
        </p:txBody>
      </p:sp>
      <p:sp>
        <p:nvSpPr>
          <p:cNvPr id="16" name="TextBox 15"/>
          <p:cNvSpPr txBox="1"/>
          <p:nvPr/>
        </p:nvSpPr>
        <p:spPr>
          <a:xfrm>
            <a:off x="139627" y="2583071"/>
            <a:ext cx="972024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Y11</a:t>
            </a:r>
            <a:endParaRPr lang="en-US" sz="3600"/>
          </a:p>
        </p:txBody>
      </p:sp>
      <p:sp>
        <p:nvSpPr>
          <p:cNvPr id="17" name="TextBox 16"/>
          <p:cNvSpPr txBox="1"/>
          <p:nvPr/>
        </p:nvSpPr>
        <p:spPr>
          <a:xfrm>
            <a:off x="270039" y="4280466"/>
            <a:ext cx="972024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Y8</a:t>
            </a:r>
            <a:endParaRPr lang="en-US" sz="3600"/>
          </a:p>
        </p:txBody>
      </p:sp>
    </p:spTree>
    <p:extLst>
      <p:ext uri="{BB962C8B-B14F-4D97-AF65-F5344CB8AC3E}">
        <p14:creationId xmlns:p14="http://schemas.microsoft.com/office/powerpoint/2010/main" val="279722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b="1"/>
              <a:t>SEA – BES (MATHEMATICS) </a:t>
            </a:r>
            <a:r>
              <a:rPr lang="en-US" b="1" smtClean="0"/>
              <a:t>: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3600" b="1"/>
              <a:t>RECOMMENDATIONS AND SUGGESTIONS</a:t>
            </a:r>
            <a:endParaRPr lang="en-US" sz="3600"/>
          </a:p>
          <a:p>
            <a:endParaRPr lang="en-US"/>
          </a:p>
        </p:txBody>
      </p:sp>
      <p:pic>
        <p:nvPicPr>
          <p:cNvPr id="15362" name="Picture 2" descr="http://www.lib.umd.edu/binaries/content/gallery/public/services/suggestions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01" b="100000" l="55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864" t="6181" r="9346"/>
          <a:stretch/>
        </p:blipFill>
        <p:spPr bwMode="auto">
          <a:xfrm>
            <a:off x="8277726" y="256674"/>
            <a:ext cx="3192379" cy="3225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4466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60041648"/>
              </p:ext>
            </p:extLst>
          </p:nvPr>
        </p:nvGraphicFramePr>
        <p:xfrm>
          <a:off x="518615" y="327546"/>
          <a:ext cx="10945504" cy="5117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5750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723709C-46FE-4F81-8241-F6C46F5121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F723709C-46FE-4F81-8241-F6C46F5121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D6A43A5-A37B-41F3-AFB6-212F8E0E3F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CD6A43A5-A37B-41F3-AFB6-212F8E0E3F3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65BA5E1-896C-43A9-9866-07CD6D55B0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265BA5E1-896C-43A9-9866-07CD6D55B02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97F94B1-5A33-4942-949D-16E053BEBE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597F94B1-5A33-4942-949D-16E053BEBEB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383FE84-5454-420F-844C-1959F57F8A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C383FE84-5454-420F-844C-1959F57F8AD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FCE5C01-71CC-42D5-B5B7-6B525428694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4FCE5C01-71CC-42D5-B5B7-6B525428694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5A89447-821C-4AD0-B984-897612CBB1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A5A89447-821C-4AD0-B984-897612CBB16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484555436"/>
              </p:ext>
            </p:extLst>
          </p:nvPr>
        </p:nvGraphicFramePr>
        <p:xfrm>
          <a:off x="-1622196" y="243981"/>
          <a:ext cx="14944299" cy="51179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19890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723709C-46FE-4F81-8241-F6C46F5121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F723709C-46FE-4F81-8241-F6C46F5121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CD6A43A5-A37B-41F3-AFB6-212F8E0E3F3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CD6A43A5-A37B-41F3-AFB6-212F8E0E3F3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65BA5E1-896C-43A9-9866-07CD6D55B0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265BA5E1-896C-43A9-9866-07CD6D55B02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5D37067-992A-443F-8C30-278D5A8667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95D37067-992A-443F-8C30-278D5A86675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6B813DD-8083-478B-8EE8-186E2E352B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A6B813DD-8083-478B-8EE8-186E2E352BD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7DA859A8-F93D-415C-A809-6FF61F649C0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dgm id="{7DA859A8-F93D-415C-A809-6FF61F649C0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0D4F8FD4-577B-4C29-BD61-6AC96536599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">
                                            <p:graphicEl>
                                              <a:dgm id="{0D4F8FD4-577B-4C29-BD61-6AC96536599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11AB7E9-D557-4FA9-9BFC-DA47B6F40F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>
                                            <p:graphicEl>
                                              <a:dgm id="{211AB7E9-D557-4FA9-9BFC-DA47B6F40F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A0D0E2D5-09F3-4584-9D28-6B7190CFF28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">
                                            <p:graphicEl>
                                              <a:dgm id="{A0D0E2D5-09F3-4584-9D28-6B7190CFF28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3132922965"/>
              </p:ext>
            </p:extLst>
          </p:nvPr>
        </p:nvGraphicFramePr>
        <p:xfrm>
          <a:off x="211015" y="196949"/>
          <a:ext cx="11465170" cy="51649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67986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723709C-46FE-4F81-8241-F6C46F5121D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6B814B83-B966-4990-89A9-9A0AD2696E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2B00024-B01B-4B7E-90E1-DB45E756493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9CA22CA-78E2-4DE3-AC27-73E8F3C6914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4E9804A8-A289-4A2F-9420-919CE80813D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B256CAA-7762-4DA4-9C71-7C7A6B94041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30012F8-1E1D-4CE3-8512-92D95534FA5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1023450056"/>
              </p:ext>
            </p:extLst>
          </p:nvPr>
        </p:nvGraphicFramePr>
        <p:xfrm>
          <a:off x="-1323633" y="0"/>
          <a:ext cx="11830930" cy="5514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3314" name="Picture 2" descr="http://gsnetworks.org/wp-content/uploads/sites/4/2015/03/action-plan-icon2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3193" y="165075"/>
            <a:ext cx="3181350" cy="2419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853946319"/>
              </p:ext>
            </p:extLst>
          </p:nvPr>
        </p:nvGraphicFramePr>
        <p:xfrm>
          <a:off x="7621176" y="2702254"/>
          <a:ext cx="4143195" cy="259491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993748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54F01D9-7E17-47C9-9FCD-DC7ADD6FDD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graphicEl>
                                              <a:dgm id="{954F01D9-7E17-47C9-9FCD-DC7ADD6FDD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graphicEl>
                                              <a:dgm id="{954F01D9-7E17-47C9-9FCD-DC7ADD6FDD25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6CBB663-5617-4209-83A8-AAEE98CF32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graphicEl>
                                              <a:dgm id="{D6CBB663-5617-4209-83A8-AAEE98CF32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graphicEl>
                                              <a:dgm id="{D6CBB663-5617-4209-83A8-AAEE98CF32D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0208844-2756-4206-8F72-ACDE2BC0C5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graphicEl>
                                              <a:dgm id="{50208844-2756-4206-8F72-ACDE2BC0C5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graphicEl>
                                              <a:dgm id="{50208844-2756-4206-8F72-ACDE2BC0C56D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DFDB530-15E8-4367-9577-7B3DC01C90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">
                                            <p:graphicEl>
                                              <a:dgm id="{4DFDB530-15E8-4367-9577-7B3DC01C90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graphicEl>
                                              <a:dgm id="{4DFDB530-15E8-4367-9577-7B3DC01C90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graphicEl>
                                              <a:dgm id="{4DFDB530-15E8-4367-9577-7B3DC01C90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92859F4-64BC-4F41-8B08-4E9AE21CBD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3">
                                            <p:graphicEl>
                                              <a:dgm id="{B92859F4-64BC-4F41-8B08-4E9AE21CBD9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graphicEl>
                                              <a:dgm id="{B92859F4-64BC-4F41-8B08-4E9AE21CBD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graphicEl>
                                              <a:dgm id="{B92859F4-64BC-4F41-8B08-4E9AE21CBD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69FB4E4-667E-4191-929A-EF09563436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3">
                                            <p:graphicEl>
                                              <a:dgm id="{569FB4E4-667E-4191-929A-EF095634367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graphicEl>
                                              <a:dgm id="{569FB4E4-667E-4191-929A-EF09563436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graphicEl>
                                              <a:dgm id="{569FB4E4-667E-4191-929A-EF0956343677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DE5C068-F4AC-4FDE-94B6-B923803841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3">
                                            <p:graphicEl>
                                              <a:dgm id="{2DE5C068-F4AC-4FDE-94B6-B9238038416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graphicEl>
                                              <a:dgm id="{2DE5C068-F4AC-4FDE-94B6-B923803841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graphicEl>
                                              <a:dgm id="{2DE5C068-F4AC-4FDE-94B6-B92380384169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252F1028-D24D-4A68-823A-70B49E06D1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3">
                                            <p:graphicEl>
                                              <a:dgm id="{252F1028-D24D-4A68-823A-70B49E06D1B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graphicEl>
                                              <a:dgm id="{252F1028-D24D-4A68-823A-70B49E06D1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graphicEl>
                                              <a:dgm id="{252F1028-D24D-4A68-823A-70B49E06D1B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7B141CBD-5375-4A30-8DD3-3CF923D773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">
                                            <p:graphicEl>
                                              <a:dgm id="{7B141CBD-5375-4A30-8DD3-3CF923D773D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graphicEl>
                                              <a:dgm id="{7B141CBD-5375-4A30-8DD3-3CF923D773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">
                                            <p:graphicEl>
                                              <a:dgm id="{7B141CBD-5375-4A30-8DD3-3CF923D773D0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B0C46DF-8D9D-45B0-814F-1D3728A4DC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3">
                                            <p:graphicEl>
                                              <a:dgm id="{FB0C46DF-8D9D-45B0-814F-1D3728A4DC5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graphicEl>
                                              <a:dgm id="{FB0C46DF-8D9D-45B0-814F-1D3728A4DC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">
                                            <p:graphicEl>
                                              <a:dgm id="{FB0C46DF-8D9D-45B0-814F-1D3728A4DC5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50778B39-0935-4C1B-8C5A-C7390FA11D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">
                                            <p:graphicEl>
                                              <a:dgm id="{50778B39-0935-4C1B-8C5A-C7390FA11DE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>
                                            <p:graphicEl>
                                              <a:dgm id="{50778B39-0935-4C1B-8C5A-C7390FA11D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graphicEl>
                                              <a:dgm id="{50778B39-0935-4C1B-8C5A-C7390FA11DE6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2548135-4F85-43A6-ACE0-16BD0EAECD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">
                                            <p:graphicEl>
                                              <a:dgm id="{B2548135-4F85-43A6-ACE0-16BD0EAECD6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">
                                            <p:graphicEl>
                                              <a:dgm id="{B2548135-4F85-43A6-ACE0-16BD0EAECD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graphicEl>
                                              <a:dgm id="{B2548135-4F85-43A6-ACE0-16BD0EAECD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3984C8F-0D40-4F53-9467-5C79D7822F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2">
                                            <p:graphicEl>
                                              <a:dgm id="{23984C8F-0D40-4F53-9467-5C79D7822F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">
                                            <p:graphicEl>
                                              <a:dgm id="{23984C8F-0D40-4F53-9467-5C79D7822F6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2" presetClass="entr" presetSubtype="1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A10EE460-A5C6-4090-9C9A-831B872151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2">
                                            <p:graphicEl>
                                              <a:dgm id="{A10EE460-A5C6-4090-9C9A-831B872151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">
                                            <p:graphicEl>
                                              <a:dgm id="{A10EE460-A5C6-4090-9C9A-831B8721515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 uiExpand="1">
        <p:bldSub>
          <a:bldDgm bld="one"/>
        </p:bldSub>
      </p:bldGraphic>
      <p:bldGraphic spid="3" grpId="0">
        <p:bldSub>
          <a:bldDgm bld="one"/>
        </p:bldSub>
      </p:bldGraphic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598574" y="525793"/>
            <a:ext cx="5920137" cy="992050"/>
          </a:xfrm>
        </p:spPr>
        <p:txBody>
          <a:bodyPr>
            <a:noAutofit/>
          </a:bodyPr>
          <a:lstStyle/>
          <a:p>
            <a:pPr algn="r"/>
            <a:r>
              <a:rPr lang="en-MY" sz="6600" smtClean="0"/>
              <a:t>Terima kasih</a:t>
            </a:r>
            <a:endParaRPr lang="en-US" sz="6600"/>
          </a:p>
        </p:txBody>
      </p:sp>
      <p:sp>
        <p:nvSpPr>
          <p:cNvPr id="6" name="Text Placeholder 5"/>
          <p:cNvSpPr>
            <a:spLocks noGrp="1"/>
          </p:cNvSpPr>
          <p:nvPr>
            <p:ph type="body" sz="half" idx="2"/>
          </p:nvPr>
        </p:nvSpPr>
        <p:spPr>
          <a:xfrm>
            <a:off x="685800" y="2715905"/>
            <a:ext cx="10394707" cy="2672207"/>
          </a:xfrm>
        </p:spPr>
        <p:txBody>
          <a:bodyPr>
            <a:normAutofit lnSpcReduction="10000"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MY" sz="2000" smtClean="0"/>
              <a:t>Radin m</a:t>
            </a:r>
            <a:r>
              <a:rPr lang="ms-MY" sz="2000" smtClean="0"/>
              <a:t>Uhd imadUddin bin radin abdUl halim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smtClean="0"/>
              <a:t>Assistant director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smtClean="0"/>
              <a:t>Science and mathematics sector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smtClean="0"/>
              <a:t>cUrricUlUm development divis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smtClean="0"/>
              <a:t>Ministry of edUcation malaysia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ms-MY" sz="2000" cap="none" smtClean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cap="none" smtClean="0"/>
              <a:t>03-8884 2221    /     013-3668108</a:t>
            </a:r>
            <a:endParaRPr lang="ms-MY" sz="2000" cap="none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ms-MY" sz="2000" cap="none" smtClean="0">
                <a:hlinkClick r:id="rId2"/>
              </a:rPr>
              <a:t>radin.muhd@moe.gov.my</a:t>
            </a:r>
            <a:endParaRPr lang="ms-MY" sz="2000" cap="none" smtClean="0"/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cap="none"/>
          </a:p>
        </p:txBody>
      </p:sp>
      <p:sp>
        <p:nvSpPr>
          <p:cNvPr id="4" name="Title 4"/>
          <p:cNvSpPr txBox="1">
            <a:spLocks/>
          </p:cNvSpPr>
          <p:nvPr/>
        </p:nvSpPr>
        <p:spPr>
          <a:xfrm>
            <a:off x="685800" y="1517843"/>
            <a:ext cx="10146323" cy="9920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 cap="all" baseline="0">
                <a:solidFill>
                  <a:schemeClr val="accent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ms-MY" sz="5400" cap="none">
                <a:solidFill>
                  <a:srgbClr val="FF0000"/>
                </a:solidFill>
              </a:rPr>
              <a:t>b</a:t>
            </a:r>
            <a:r>
              <a:rPr lang="ms-MY" sz="5400" cap="none" smtClean="0">
                <a:solidFill>
                  <a:srgbClr val="FF0000"/>
                </a:solidFill>
              </a:rPr>
              <a:t>it.ly/mathmalaysia</a:t>
            </a:r>
            <a:endParaRPr lang="en-US" sz="5400" cap="none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036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https://meromtzion.files.wordpress.com/2015/10/root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0"/>
            <a:ext cx="124968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823794788"/>
              </p:ext>
            </p:extLst>
          </p:nvPr>
        </p:nvGraphicFramePr>
        <p:xfrm>
          <a:off x="641445" y="102106"/>
          <a:ext cx="10598055" cy="332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604782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4C49BCB-1DC2-4F44-A730-5DA236B8B3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24C49BCB-1DC2-4F44-A730-5DA236B8B3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E3A59C6-0DF0-4C77-BFF7-58BE4EC6A4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1E3A59C6-0DF0-4C77-BFF7-58BE4EC6A43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0EAE1C4-5D96-41AF-B9D9-746FE6CE91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dgm id="{B0EAE1C4-5D96-41AF-B9D9-746FE6CE917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meromtzion.files.wordpress.com/2015/10/root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0"/>
            <a:ext cx="124968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95601877"/>
              </p:ext>
            </p:extLst>
          </p:nvPr>
        </p:nvGraphicFramePr>
        <p:xfrm>
          <a:off x="1193799" y="0"/>
          <a:ext cx="8899857" cy="3390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493671" y="4762500"/>
            <a:ext cx="41832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</a:rPr>
              <a:t>National Education Philosophy (NEP) </a:t>
            </a:r>
          </a:p>
        </p:txBody>
      </p:sp>
      <p:sp>
        <p:nvSpPr>
          <p:cNvPr id="6" name="Rectangle 5"/>
          <p:cNvSpPr/>
          <p:nvPr/>
        </p:nvSpPr>
        <p:spPr>
          <a:xfrm>
            <a:off x="6366585" y="4762499"/>
            <a:ext cx="411384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</a:rPr>
              <a:t>Malaysia Education </a:t>
            </a:r>
            <a:r>
              <a:rPr lang="en-US" sz="3600">
                <a:solidFill>
                  <a:schemeClr val="bg1"/>
                </a:solidFill>
                <a:latin typeface="+mj-lt"/>
                <a:ea typeface="Times New Roman" panose="02020603050405020304" pitchFamily="18" charset="0"/>
              </a:rPr>
              <a:t>Blueprint </a:t>
            </a:r>
            <a:r>
              <a:rPr lang="en-US" sz="3600" smtClean="0">
                <a:solidFill>
                  <a:schemeClr val="bg1"/>
                </a:solidFill>
                <a:latin typeface="+mj-lt"/>
                <a:ea typeface="Times New Roman" panose="02020603050405020304" pitchFamily="18" charset="0"/>
              </a:rPr>
              <a:t> </a:t>
            </a:r>
            <a:r>
              <a:rPr lang="en-US" sz="3600">
                <a:solidFill>
                  <a:schemeClr val="bg1"/>
                </a:solidFill>
                <a:latin typeface="+mj-lt"/>
                <a:ea typeface="Times New Roman" panose="02020603050405020304" pitchFamily="18" charset="0"/>
              </a:rPr>
              <a:t>(PPPM) </a:t>
            </a:r>
            <a:endParaRPr lang="en-US" sz="3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47827" y="4027796"/>
            <a:ext cx="41832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ms-MY" sz="3600" smtClean="0">
                <a:solidFill>
                  <a:schemeClr val="bg1"/>
                </a:solidFill>
              </a:rPr>
              <a:t>Rukun Negara</a:t>
            </a:r>
            <a:endParaRPr lang="en-US" sz="3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376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24C49BCB-1DC2-4F44-A730-5DA236B8B30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24C49BCB-1DC2-4F44-A730-5DA236B8B30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1E3A59C6-0DF0-4C77-BFF7-58BE4EC6A43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1E3A59C6-0DF0-4C77-BFF7-58BE4EC6A43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0EAE1C4-5D96-41AF-B9D9-746FE6CE917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dgm id="{B0EAE1C4-5D96-41AF-B9D9-746FE6CE917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375" y="1991881"/>
            <a:ext cx="5870796" cy="312391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66159" y="499259"/>
            <a:ext cx="4183229" cy="120032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600">
                <a:solidFill>
                  <a:schemeClr val="bg1"/>
                </a:solidFill>
              </a:rPr>
              <a:t>National Education Philosophy (NEP) </a:t>
            </a:r>
          </a:p>
        </p:txBody>
      </p:sp>
      <p:pic>
        <p:nvPicPr>
          <p:cNvPr id="20482" name="Picture 2" descr="http://image.slidesharecdn.com/curriculumdevelopmentdivisionmoe-150629093715-lva1-app6892/95/curriculum-development-division-moepdf-5-27-638.jpg?cb=1435570816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EEECE0"/>
              </a:clrFrom>
              <a:clrTo>
                <a:srgbClr val="EEEC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634" y="-201882"/>
            <a:ext cx="10972799" cy="623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30559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http://uploads.kinibiz.com/2015/01/malaysia-education-blueprint-generic-2013-to-202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508" name="Picture 4" descr="http://asianbeacon.org/wp-content/uploads/2015/02/aspirations_students_infog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747" y="-59377"/>
            <a:ext cx="8988253" cy="568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6873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images.prod.meredith.com/product/14bed80f19d39bd70e38b58410ac509e/f16b5649b52e3526d884ce321b0b4c3493a6e48d173ca8332eb1acb9c958cfa0/l/design-toscano-stacked-bricks-cascading-garden-fountai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4864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352800" y="130629"/>
            <a:ext cx="7852229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CURRICULUM DEVELOPMENT DIVISION</a:t>
            </a:r>
            <a:endParaRPr lang="en-US" sz="4000"/>
          </a:p>
        </p:txBody>
      </p:sp>
      <p:sp>
        <p:nvSpPr>
          <p:cNvPr id="5" name="TextBox 4"/>
          <p:cNvSpPr txBox="1"/>
          <p:nvPr/>
        </p:nvSpPr>
        <p:spPr>
          <a:xfrm>
            <a:off x="4230915" y="1516743"/>
            <a:ext cx="6451599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STATE EDUCATION DEPARTMENT</a:t>
            </a:r>
            <a:endParaRPr lang="en-US" sz="4000"/>
          </a:p>
        </p:txBody>
      </p:sp>
      <p:sp>
        <p:nvSpPr>
          <p:cNvPr id="6" name="TextBox 5"/>
          <p:cNvSpPr txBox="1"/>
          <p:nvPr/>
        </p:nvSpPr>
        <p:spPr>
          <a:xfrm>
            <a:off x="3084287" y="2801257"/>
            <a:ext cx="6451599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DISTRICT  EDUCATION OFFICES</a:t>
            </a:r>
            <a:endParaRPr lang="en-US" sz="4000"/>
          </a:p>
        </p:txBody>
      </p:sp>
      <p:sp>
        <p:nvSpPr>
          <p:cNvPr id="7" name="TextBox 6"/>
          <p:cNvSpPr txBox="1"/>
          <p:nvPr/>
        </p:nvSpPr>
        <p:spPr>
          <a:xfrm>
            <a:off x="3773716" y="4671943"/>
            <a:ext cx="2496455" cy="707886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SCHOOLS</a:t>
            </a:r>
            <a:endParaRPr lang="en-US" sz="4000"/>
          </a:p>
        </p:txBody>
      </p:sp>
      <p:sp>
        <p:nvSpPr>
          <p:cNvPr id="3" name="TextBox 2"/>
          <p:cNvSpPr txBox="1"/>
          <p:nvPr/>
        </p:nvSpPr>
        <p:spPr>
          <a:xfrm>
            <a:off x="10845205" y="1496720"/>
            <a:ext cx="769040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16</a:t>
            </a:r>
            <a:endParaRPr lang="en-US" sz="3600"/>
          </a:p>
        </p:txBody>
      </p:sp>
      <p:sp>
        <p:nvSpPr>
          <p:cNvPr id="8" name="TextBox 7"/>
          <p:cNvSpPr txBox="1"/>
          <p:nvPr/>
        </p:nvSpPr>
        <p:spPr>
          <a:xfrm>
            <a:off x="11368369" y="130629"/>
            <a:ext cx="769040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1</a:t>
            </a:r>
            <a:endParaRPr lang="en-US" sz="3600"/>
          </a:p>
        </p:txBody>
      </p:sp>
      <p:sp>
        <p:nvSpPr>
          <p:cNvPr id="9" name="TextBox 8"/>
          <p:cNvSpPr txBox="1"/>
          <p:nvPr/>
        </p:nvSpPr>
        <p:spPr>
          <a:xfrm>
            <a:off x="9714715" y="2801257"/>
            <a:ext cx="1312675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239</a:t>
            </a:r>
            <a:endParaRPr lang="en-US" sz="3600"/>
          </a:p>
        </p:txBody>
      </p:sp>
      <p:sp>
        <p:nvSpPr>
          <p:cNvPr id="10" name="TextBox 9"/>
          <p:cNvSpPr txBox="1"/>
          <p:nvPr/>
        </p:nvSpPr>
        <p:spPr>
          <a:xfrm>
            <a:off x="6480902" y="4671943"/>
            <a:ext cx="1612220" cy="707886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MY" sz="4000" smtClean="0"/>
              <a:t>10 154</a:t>
            </a:r>
            <a:endParaRPr lang="en-US" sz="3600"/>
          </a:p>
        </p:txBody>
      </p:sp>
    </p:spTree>
    <p:extLst>
      <p:ext uri="{BB962C8B-B14F-4D97-AF65-F5344CB8AC3E}">
        <p14:creationId xmlns:p14="http://schemas.microsoft.com/office/powerpoint/2010/main" val="2975073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2597927"/>
              </p:ext>
            </p:extLst>
          </p:nvPr>
        </p:nvGraphicFramePr>
        <p:xfrm>
          <a:off x="0" y="154728"/>
          <a:ext cx="12192000" cy="6682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91367">
                  <a:extLst>
                    <a:ext uri="{9D8B030D-6E8A-4147-A177-3AD203B41FA5}">
                      <a16:colId xmlns:a16="http://schemas.microsoft.com/office/drawing/2014/main" val="3108097168"/>
                    </a:ext>
                  </a:extLst>
                </a:gridCol>
                <a:gridCol w="6200633">
                  <a:extLst>
                    <a:ext uri="{9D8B030D-6E8A-4147-A177-3AD203B41FA5}">
                      <a16:colId xmlns:a16="http://schemas.microsoft.com/office/drawing/2014/main" val="3511981770"/>
                    </a:ext>
                  </a:extLst>
                </a:gridCol>
              </a:tblGrid>
              <a:tr h="569227"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3200" b="0">
                          <a:effectLst/>
                        </a:rPr>
                        <a:t>KBSR / KBSM</a:t>
                      </a:r>
                      <a:endParaRPr lang="en-US" sz="40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900"/>
                        </a:spcBef>
                        <a:spcAft>
                          <a:spcPts val="0"/>
                        </a:spcAft>
                      </a:pPr>
                      <a:r>
                        <a:rPr lang="en-US" sz="3200" b="0">
                          <a:effectLst/>
                        </a:rPr>
                        <a:t>KSSR / KSSM</a:t>
                      </a:r>
                      <a:endParaRPr lang="en-US" sz="40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93800531"/>
                  </a:ext>
                </a:extLst>
              </a:tr>
              <a:tr h="1611437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Communication</a:t>
                      </a:r>
                      <a:r>
                        <a:rPr lang="en-US" sz="3200" b="0" smtClean="0">
                          <a:effectLst/>
                        </a:rPr>
                        <a:t>,</a:t>
                      </a:r>
                      <a:r>
                        <a:rPr lang="en-US" sz="3200" b="0" baseline="0" smtClean="0">
                          <a:effectLst/>
                        </a:rPr>
                        <a:t> </a:t>
                      </a:r>
                      <a:r>
                        <a:rPr lang="en-US" sz="2400" b="0" smtClean="0">
                          <a:effectLst/>
                        </a:rPr>
                        <a:t>Man </a:t>
                      </a:r>
                      <a:r>
                        <a:rPr lang="en-US" sz="2400" b="0">
                          <a:effectLst/>
                        </a:rPr>
                        <a:t>and his </a:t>
                      </a:r>
                      <a:r>
                        <a:rPr lang="en-US" sz="2400" b="0" smtClean="0">
                          <a:effectLst/>
                        </a:rPr>
                        <a:t>environment, Self-development </a:t>
                      </a:r>
                      <a:r>
                        <a:rPr lang="en-US" sz="2400" b="0">
                          <a:effectLst/>
                        </a:rPr>
                        <a:t>of the individual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Communication</a:t>
                      </a:r>
                      <a:r>
                        <a:rPr lang="en-US" sz="3200" b="0" smtClean="0">
                          <a:effectLst/>
                        </a:rPr>
                        <a:t>,</a:t>
                      </a:r>
                      <a:r>
                        <a:rPr lang="en-US" sz="3200" b="0" baseline="0" smtClean="0">
                          <a:effectLst/>
                        </a:rPr>
                        <a:t> </a:t>
                      </a:r>
                      <a:r>
                        <a:rPr lang="en-US" sz="2400" b="0" smtClean="0">
                          <a:effectLst/>
                        </a:rPr>
                        <a:t>Spiritual</a:t>
                      </a:r>
                      <a:r>
                        <a:rPr lang="en-US" sz="2400" b="0">
                          <a:effectLst/>
                        </a:rPr>
                        <a:t>, Attitude and </a:t>
                      </a:r>
                      <a:r>
                        <a:rPr lang="en-US" sz="2400" b="0" smtClean="0">
                          <a:effectLst/>
                        </a:rPr>
                        <a:t>Values, Humanitarian, Physical </a:t>
                      </a:r>
                      <a:r>
                        <a:rPr lang="en-US" sz="2400" b="0">
                          <a:effectLst/>
                        </a:rPr>
                        <a:t>and Aesthetical </a:t>
                      </a:r>
                      <a:r>
                        <a:rPr lang="en-US" sz="2400" b="0" smtClean="0">
                          <a:effectLst/>
                        </a:rPr>
                        <a:t>Development, Science </a:t>
                      </a:r>
                      <a:r>
                        <a:rPr lang="en-US" sz="2400" b="0">
                          <a:effectLst/>
                        </a:rPr>
                        <a:t>and </a:t>
                      </a:r>
                      <a:r>
                        <a:rPr lang="en-US" sz="2400" b="0" smtClean="0">
                          <a:effectLst/>
                        </a:rPr>
                        <a:t>Technology, Personal </a:t>
                      </a:r>
                      <a:r>
                        <a:rPr lang="en-US" sz="2400" b="0">
                          <a:effectLst/>
                        </a:rPr>
                        <a:t>Appearance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894226397"/>
                  </a:ext>
                </a:extLst>
              </a:tr>
              <a:tr h="1622459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Curriculum </a:t>
                      </a:r>
                      <a:r>
                        <a:rPr lang="en-US" sz="2400" b="0">
                          <a:effectLst/>
                        </a:rPr>
                        <a:t>Specification which consists ‘Learning Objective</a:t>
                      </a:r>
                      <a:r>
                        <a:rPr lang="en-US" sz="2400" b="0" smtClean="0">
                          <a:effectLst/>
                        </a:rPr>
                        <a:t>’, </a:t>
                      </a:r>
                      <a:r>
                        <a:rPr lang="en-US" sz="2400" b="0">
                          <a:effectLst/>
                        </a:rPr>
                        <a:t>‘Learning Outcome</a:t>
                      </a:r>
                      <a:r>
                        <a:rPr lang="en-US" sz="2400" b="0" smtClean="0">
                          <a:effectLst/>
                        </a:rPr>
                        <a:t>’, and ‘Suggested Learning Activities’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Curriculum </a:t>
                      </a:r>
                      <a:r>
                        <a:rPr lang="en-US" sz="2400" b="0">
                          <a:effectLst/>
                        </a:rPr>
                        <a:t>Standard documents which consists ‘Content Standards’, ‘Learning Standards</a:t>
                      </a:r>
                      <a:r>
                        <a:rPr lang="en-US" sz="2400" b="0" smtClean="0">
                          <a:effectLst/>
                        </a:rPr>
                        <a:t>’,</a:t>
                      </a:r>
                      <a:r>
                        <a:rPr lang="en-US" sz="2400" b="0" baseline="0" smtClean="0">
                          <a:effectLst/>
                        </a:rPr>
                        <a:t> </a:t>
                      </a:r>
                      <a:r>
                        <a:rPr lang="en-US" sz="2400" b="0" smtClean="0">
                          <a:effectLst/>
                        </a:rPr>
                        <a:t>‘</a:t>
                      </a:r>
                      <a:r>
                        <a:rPr lang="en-US" sz="2400" b="0">
                          <a:effectLst/>
                        </a:rPr>
                        <a:t>Performance Standards</a:t>
                      </a:r>
                      <a:r>
                        <a:rPr lang="en-US" sz="2400" b="0" smtClean="0">
                          <a:effectLst/>
                        </a:rPr>
                        <a:t>’ and ‘Notes’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1068376135"/>
                  </a:ext>
                </a:extLst>
              </a:tr>
              <a:tr h="1726189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Linear </a:t>
                      </a:r>
                    </a:p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Elements </a:t>
                      </a:r>
                      <a:r>
                        <a:rPr lang="en-US" sz="2400" b="0">
                          <a:effectLst/>
                        </a:rPr>
                        <a:t>of analytical and creative thinking skills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Modular </a:t>
                      </a:r>
                      <a:endParaRPr lang="en-US" sz="3200" b="0" smtClean="0">
                        <a:effectLst/>
                      </a:endParaRPr>
                    </a:p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The </a:t>
                      </a:r>
                      <a:r>
                        <a:rPr lang="en-US" sz="2400" b="0">
                          <a:effectLst/>
                        </a:rPr>
                        <a:t>elements of creativity and innovation, entrepreneurial, information technology and communication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548603053"/>
                  </a:ext>
                </a:extLst>
              </a:tr>
              <a:tr h="1153488"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3R’s </a:t>
                      </a:r>
                      <a:r>
                        <a:rPr lang="en-US" sz="2400" b="0">
                          <a:effectLst/>
                        </a:rPr>
                        <a:t>(Reading, wRiting and aRithmetic)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lvl="0" indent="0" algn="l">
                        <a:spcBef>
                          <a:spcPts val="900"/>
                        </a:spcBef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US" sz="2400" b="0" smtClean="0">
                          <a:effectLst/>
                        </a:rPr>
                        <a:t>4R’s </a:t>
                      </a:r>
                      <a:r>
                        <a:rPr lang="en-US" sz="2400" b="0">
                          <a:effectLst/>
                        </a:rPr>
                        <a:t>(Reading, wRiting, aRithmetic and Reasoning)</a:t>
                      </a:r>
                      <a:endParaRPr lang="en-US" sz="3200" b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23392828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940013"/>
            <a:ext cx="5991367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400"/>
              <a:t>Curriculum design is based on </a:t>
            </a:r>
            <a:r>
              <a:rPr lang="en-US" sz="2400" smtClean="0"/>
              <a:t>these areas:</a:t>
            </a:r>
            <a:endParaRPr lang="en-US" sz="2400"/>
          </a:p>
        </p:txBody>
      </p:sp>
      <p:sp>
        <p:nvSpPr>
          <p:cNvPr id="11" name="TextBox 10"/>
          <p:cNvSpPr txBox="1"/>
          <p:nvPr/>
        </p:nvSpPr>
        <p:spPr>
          <a:xfrm>
            <a:off x="-1" y="2380153"/>
            <a:ext cx="5991367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400"/>
              <a:t>Curriculum </a:t>
            </a:r>
            <a:r>
              <a:rPr lang="en-US" sz="2400" smtClean="0"/>
              <a:t>Document Format:</a:t>
            </a:r>
            <a:endParaRPr lang="en-US" sz="2400"/>
          </a:p>
        </p:txBody>
      </p:sp>
      <p:sp>
        <p:nvSpPr>
          <p:cNvPr id="12" name="TextBox 11"/>
          <p:cNvSpPr txBox="1"/>
          <p:nvPr/>
        </p:nvSpPr>
        <p:spPr>
          <a:xfrm>
            <a:off x="-1" y="3969207"/>
            <a:ext cx="5991366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400" smtClean="0"/>
              <a:t>Design of the Curriculum:</a:t>
            </a:r>
            <a:endParaRPr lang="en-US" sz="2400"/>
          </a:p>
        </p:txBody>
      </p:sp>
      <p:sp>
        <p:nvSpPr>
          <p:cNvPr id="13" name="TextBox 12"/>
          <p:cNvSpPr txBox="1"/>
          <p:nvPr/>
        </p:nvSpPr>
        <p:spPr>
          <a:xfrm>
            <a:off x="0" y="5730541"/>
            <a:ext cx="5991366" cy="46166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sz="2400" smtClean="0"/>
              <a:t>Focus: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00420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ain Event">
  <a:themeElements>
    <a:clrScheme name="Main Event">
      <a:dk1>
        <a:sysClr val="windowText" lastClr="000000"/>
      </a:dk1>
      <a:lt1>
        <a:sysClr val="window" lastClr="FFFFFF"/>
      </a:lt1>
      <a:dk2>
        <a:srgbClr val="424242"/>
      </a:dk2>
      <a:lt2>
        <a:srgbClr val="C8C8C8"/>
      </a:lt2>
      <a:accent1>
        <a:srgbClr val="B80E0F"/>
      </a:accent1>
      <a:accent2>
        <a:srgbClr val="A6987D"/>
      </a:accent2>
      <a:accent3>
        <a:srgbClr val="7F9A71"/>
      </a:accent3>
      <a:accent4>
        <a:srgbClr val="64969F"/>
      </a:accent4>
      <a:accent5>
        <a:srgbClr val="9B75B2"/>
      </a:accent5>
      <a:accent6>
        <a:srgbClr val="80737A"/>
      </a:accent6>
      <a:hlink>
        <a:srgbClr val="F21213"/>
      </a:hlink>
      <a:folHlink>
        <a:srgbClr val="B6A394"/>
      </a:folHlink>
    </a:clrScheme>
    <a:fontScheme name="Main Event">
      <a:maj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Impact" panose="020B080603090205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ain Even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blipFill>
          <a:blip xmlns:r="http://schemas.openxmlformats.org/officeDocument/2006/relationships" r:embed="rId1">
            <a:duotone>
              <a:schemeClr val="phClr">
                <a:shade val="88000"/>
                <a:lumMod val="88000"/>
              </a:schemeClr>
              <a:schemeClr val="phClr"/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25400" dist="127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88000"/>
              </a:schemeClr>
            </a:gs>
          </a:gsLst>
          <a:lin ang="5400000" scaled="0"/>
        </a:gradFill>
        <a:blipFill>
          <a:blip xmlns:r="http://schemas.openxmlformats.org/officeDocument/2006/relationships" r:embed="rId2">
            <a:duotone>
              <a:schemeClr val="phClr">
                <a:shade val="48000"/>
                <a:satMod val="110000"/>
                <a:lumMod val="40000"/>
              </a:schemeClr>
              <a:schemeClr val="phClr">
                <a:tint val="90000"/>
                <a:lumMod val="106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in Event" id="{AC372BB4-D83D-411E-B849-B641926BA760}" vid="{F1EFBDE3-1A95-4E3D-81AD-1F53D65BEA01}"/>
    </a:ext>
  </a:extLst>
</a:theme>
</file>

<file path=ppt/theme/theme2.xml><?xml version="1.0" encoding="utf-8"?>
<a:theme xmlns:a="http://schemas.openxmlformats.org/drawingml/2006/main" name="MSG048_CF">
  <a:themeElements>
    <a:clrScheme name="MSG048_CF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1B3"/>
      </a:accent1>
      <a:accent2>
        <a:srgbClr val="FFD72F"/>
      </a:accent2>
      <a:accent3>
        <a:srgbClr val="FFFFFF"/>
      </a:accent3>
      <a:accent4>
        <a:srgbClr val="000000"/>
      </a:accent4>
      <a:accent5>
        <a:srgbClr val="FFF7D6"/>
      </a:accent5>
      <a:accent6>
        <a:srgbClr val="E7C32A"/>
      </a:accent6>
      <a:hlink>
        <a:srgbClr val="EAAF00"/>
      </a:hlink>
      <a:folHlink>
        <a:srgbClr val="0072BC"/>
      </a:folHlink>
    </a:clrScheme>
    <a:fontScheme name="MSG048_CF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SG048_CF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1B3"/>
        </a:accent1>
        <a:accent2>
          <a:srgbClr val="FFD72F"/>
        </a:accent2>
        <a:accent3>
          <a:srgbClr val="FFFFFF"/>
        </a:accent3>
        <a:accent4>
          <a:srgbClr val="000000"/>
        </a:accent4>
        <a:accent5>
          <a:srgbClr val="FFF7D6"/>
        </a:accent5>
        <a:accent6>
          <a:srgbClr val="E7C32A"/>
        </a:accent6>
        <a:hlink>
          <a:srgbClr val="EAAF00"/>
        </a:hlink>
        <a:folHlink>
          <a:srgbClr val="0072B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spect">
    <a:dk1>
      <a:sysClr val="windowText" lastClr="000000"/>
    </a:dk1>
    <a:lt1>
      <a:sysClr val="window" lastClr="FFFFFF"/>
    </a:lt1>
    <a:dk2>
      <a:srgbClr val="323232"/>
    </a:dk2>
    <a:lt2>
      <a:srgbClr val="E3DED1"/>
    </a:lt2>
    <a:accent1>
      <a:srgbClr val="F07F09"/>
    </a:accent1>
    <a:accent2>
      <a:srgbClr val="9F2936"/>
    </a:accent2>
    <a:accent3>
      <a:srgbClr val="1B587C"/>
    </a:accent3>
    <a:accent4>
      <a:srgbClr val="4E8542"/>
    </a:accent4>
    <a:accent5>
      <a:srgbClr val="604878"/>
    </a:accent5>
    <a:accent6>
      <a:srgbClr val="C19859"/>
    </a:accent6>
    <a:hlink>
      <a:srgbClr val="6B9F25"/>
    </a:hlink>
    <a:folHlink>
      <a:srgbClr val="B26B02"/>
    </a:folHlink>
  </a:clrScheme>
  <a:fontScheme name="Office Them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Aspect">
    <a:dk1>
      <a:sysClr val="windowText" lastClr="000000"/>
    </a:dk1>
    <a:lt1>
      <a:sysClr val="window" lastClr="FFFFFF"/>
    </a:lt1>
    <a:dk2>
      <a:srgbClr val="323232"/>
    </a:dk2>
    <a:lt2>
      <a:srgbClr val="E3DED1"/>
    </a:lt2>
    <a:accent1>
      <a:srgbClr val="F07F09"/>
    </a:accent1>
    <a:accent2>
      <a:srgbClr val="9F2936"/>
    </a:accent2>
    <a:accent3>
      <a:srgbClr val="1B587C"/>
    </a:accent3>
    <a:accent4>
      <a:srgbClr val="4E8542"/>
    </a:accent4>
    <a:accent5>
      <a:srgbClr val="604878"/>
    </a:accent5>
    <a:accent6>
      <a:srgbClr val="C19859"/>
    </a:accent6>
    <a:hlink>
      <a:srgbClr val="6B9F25"/>
    </a:hlink>
    <a:folHlink>
      <a:srgbClr val="B26B02"/>
    </a:folHlink>
  </a:clrScheme>
  <a:fontScheme name="Office Them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Aspect">
    <a:dk1>
      <a:sysClr val="windowText" lastClr="000000"/>
    </a:dk1>
    <a:lt1>
      <a:sysClr val="window" lastClr="FFFFFF"/>
    </a:lt1>
    <a:dk2>
      <a:srgbClr val="323232"/>
    </a:dk2>
    <a:lt2>
      <a:srgbClr val="E3DED1"/>
    </a:lt2>
    <a:accent1>
      <a:srgbClr val="F07F09"/>
    </a:accent1>
    <a:accent2>
      <a:srgbClr val="9F2936"/>
    </a:accent2>
    <a:accent3>
      <a:srgbClr val="1B587C"/>
    </a:accent3>
    <a:accent4>
      <a:srgbClr val="4E8542"/>
    </a:accent4>
    <a:accent5>
      <a:srgbClr val="604878"/>
    </a:accent5>
    <a:accent6>
      <a:srgbClr val="C19859"/>
    </a:accent6>
    <a:hlink>
      <a:srgbClr val="6B9F25"/>
    </a:hlink>
    <a:folHlink>
      <a:srgbClr val="B26B02"/>
    </a:folHlink>
  </a:clrScheme>
  <a:fontScheme name="Office Them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M04033927[[fn=Main Event]]</Template>
  <TotalTime>2079</TotalTime>
  <Words>1208</Words>
  <Application>Microsoft Office PowerPoint</Application>
  <PresentationFormat>Widescreen</PresentationFormat>
  <Paragraphs>270</Paragraphs>
  <Slides>3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8</vt:i4>
      </vt:variant>
    </vt:vector>
  </HeadingPairs>
  <TitlesOfParts>
    <vt:vector size="49" baseType="lpstr">
      <vt:lpstr>SimSun</vt:lpstr>
      <vt:lpstr>Arial</vt:lpstr>
      <vt:lpstr>Calibri</vt:lpstr>
      <vt:lpstr>Cambria Math</vt:lpstr>
      <vt:lpstr>Impact</vt:lpstr>
      <vt:lpstr>Symbol</vt:lpstr>
      <vt:lpstr>Times New Roman</vt:lpstr>
      <vt:lpstr>Main Event</vt:lpstr>
      <vt:lpstr>MSG048_CF</vt:lpstr>
      <vt:lpstr>think-cell Slide</vt:lpstr>
      <vt:lpstr>Document</vt:lpstr>
      <vt:lpstr>Mathematics curriculum in malaysia</vt:lpstr>
      <vt:lpstr>PowerPoint Presentation</vt:lpstr>
      <vt:lpstr>Curriculum developmen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tent organis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ssues &amp; challe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EA – BES (MATHEMATICS) :</vt:lpstr>
      <vt:lpstr>PowerPoint Presentation</vt:lpstr>
      <vt:lpstr>PowerPoint Presentation</vt:lpstr>
      <vt:lpstr>PowerPoint Presentation</vt:lpstr>
      <vt:lpstr>PowerPoint Presentation</vt:lpstr>
      <vt:lpstr>Terima kasih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thematics curriculum in malaysia</dc:title>
  <dc:creator>Radin Muhd Imaduddin Radin Abdul Halim</dc:creator>
  <cp:lastModifiedBy>Radin Imaduddin</cp:lastModifiedBy>
  <cp:revision>58</cp:revision>
  <dcterms:created xsi:type="dcterms:W3CDTF">2016-02-11T05:27:55Z</dcterms:created>
  <dcterms:modified xsi:type="dcterms:W3CDTF">2016-02-16T15:03:05Z</dcterms:modified>
</cp:coreProperties>
</file>